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tags/tag3.xml" ContentType="application/vnd.openxmlformats-officedocument.presentationml.tags+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tags/tag4.xml" ContentType="application/vnd.openxmlformats-officedocument.presentationml.tags+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tags/tag5.xml" ContentType="application/vnd.openxmlformats-officedocument.presentationml.tags+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tags/tag6.xml" ContentType="application/vnd.openxmlformats-officedocument.presentationml.tags+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charts/chart13.xml" ContentType="application/vnd.openxmlformats-officedocument.drawingml.chart+xml"/>
  <Override PartName="/ppt/charts/style13.xml" ContentType="application/vnd.ms-office.chartstyle+xml"/>
  <Override PartName="/ppt/charts/colors13.xml" ContentType="application/vnd.ms-office.chartcolorstyle+xml"/>
  <Override PartName="/ppt/charts/chart14.xml" ContentType="application/vnd.openxmlformats-officedocument.drawingml.chart+xml"/>
  <Override PartName="/ppt/charts/style14.xml" ContentType="application/vnd.ms-office.chartstyle+xml"/>
  <Override PartName="/ppt/charts/colors14.xml" ContentType="application/vnd.ms-office.chartcolorstyle+xml"/>
  <Override PartName="/ppt/charts/chart15.xml" ContentType="application/vnd.openxmlformats-officedocument.drawingml.chart+xml"/>
  <Override PartName="/ppt/charts/style15.xml" ContentType="application/vnd.ms-office.chartstyle+xml"/>
  <Override PartName="/ppt/charts/colors15.xml" ContentType="application/vnd.ms-office.chartcolorstyle+xml"/>
  <Override PartName="/ppt/charts/chart16.xml" ContentType="application/vnd.openxmlformats-officedocument.drawingml.chart+xml"/>
  <Override PartName="/ppt/charts/style16.xml" ContentType="application/vnd.ms-office.chartstyle+xml"/>
  <Override PartName="/ppt/charts/colors16.xml" ContentType="application/vnd.ms-office.chartcolorstyle+xml"/>
  <Override PartName="/ppt/charts/chart17.xml" ContentType="application/vnd.openxmlformats-officedocument.drawingml.chart+xml"/>
  <Override PartName="/ppt/charts/style17.xml" ContentType="application/vnd.ms-office.chartstyle+xml"/>
  <Override PartName="/ppt/charts/colors17.xml" ContentType="application/vnd.ms-office.chartcolorstyle+xml"/>
  <Override PartName="/ppt/charts/chart18.xml" ContentType="application/vnd.openxmlformats-officedocument.drawingml.chart+xml"/>
  <Override PartName="/ppt/charts/style18.xml" ContentType="application/vnd.ms-office.chartstyle+xml"/>
  <Override PartName="/ppt/charts/colors18.xml" ContentType="application/vnd.ms-office.chartcolorstyle+xml"/>
  <Override PartName="/ppt/charts/chart19.xml" ContentType="application/vnd.openxmlformats-officedocument.drawingml.chart+xml"/>
  <Override PartName="/ppt/charts/style19.xml" ContentType="application/vnd.ms-office.chartstyle+xml"/>
  <Override PartName="/ppt/charts/colors19.xml" ContentType="application/vnd.ms-office.chartcolorstyle+xml"/>
  <Override PartName="/ppt/charts/chart20.xml" ContentType="application/vnd.openxmlformats-officedocument.drawingml.chart+xml"/>
  <Override PartName="/ppt/charts/style20.xml" ContentType="application/vnd.ms-office.chartstyle+xml"/>
  <Override PartName="/ppt/charts/colors20.xml" ContentType="application/vnd.ms-office.chartcolorstyle+xml"/>
  <Override PartName="/ppt/charts/chart21.xml" ContentType="application/vnd.openxmlformats-officedocument.drawingml.chart+xml"/>
  <Override PartName="/ppt/charts/style21.xml" ContentType="application/vnd.ms-office.chartstyle+xml"/>
  <Override PartName="/ppt/charts/colors21.xml" ContentType="application/vnd.ms-office.chartcolorstyle+xml"/>
  <Override PartName="/ppt/charts/chart22.xml" ContentType="application/vnd.openxmlformats-officedocument.drawingml.chart+xml"/>
  <Override PartName="/ppt/charts/style22.xml" ContentType="application/vnd.ms-office.chartstyle+xml"/>
  <Override PartName="/ppt/charts/colors22.xml" ContentType="application/vnd.ms-office.chartcolorstyle+xml"/>
  <Override PartName="/ppt/charts/chart23.xml" ContentType="application/vnd.openxmlformats-officedocument.drawingml.chart+xml"/>
  <Override PartName="/ppt/charts/style23.xml" ContentType="application/vnd.ms-office.chartstyle+xml"/>
  <Override PartName="/ppt/charts/colors23.xml" ContentType="application/vnd.ms-office.chartcolorstyle+xml"/>
  <Override PartName="/ppt/charts/chart24.xml" ContentType="application/vnd.openxmlformats-officedocument.drawingml.chart+xml"/>
  <Override PartName="/ppt/charts/style24.xml" ContentType="application/vnd.ms-office.chartstyle+xml"/>
  <Override PartName="/ppt/charts/colors24.xml" ContentType="application/vnd.ms-office.chartcolorstyle+xml"/>
  <Override PartName="/ppt/charts/chart25.xml" ContentType="application/vnd.openxmlformats-officedocument.drawingml.chart+xml"/>
  <Override PartName="/ppt/charts/style25.xml" ContentType="application/vnd.ms-office.chartstyle+xml"/>
  <Override PartName="/ppt/charts/colors25.xml" ContentType="application/vnd.ms-office.chartcolorstyle+xml"/>
  <Override PartName="/ppt/charts/chart26.xml" ContentType="application/vnd.openxmlformats-officedocument.drawingml.chart+xml"/>
  <Override PartName="/ppt/charts/style26.xml" ContentType="application/vnd.ms-office.chartstyle+xml"/>
  <Override PartName="/ppt/charts/colors26.xml" ContentType="application/vnd.ms-office.chartcolorstyle+xml"/>
  <Override PartName="/ppt/charts/chart27.xml" ContentType="application/vnd.openxmlformats-officedocument.drawingml.chart+xml"/>
  <Override PartName="/ppt/charts/style27.xml" ContentType="application/vnd.ms-office.chartstyle+xml"/>
  <Override PartName="/ppt/charts/colors27.xml" ContentType="application/vnd.ms-office.chartcolorstyle+xml"/>
  <Override PartName="/ppt/charts/chart28.xml" ContentType="application/vnd.openxmlformats-officedocument.drawingml.chart+xml"/>
  <Override PartName="/ppt/charts/style28.xml" ContentType="application/vnd.ms-office.chartstyle+xml"/>
  <Override PartName="/ppt/charts/colors28.xml" ContentType="application/vnd.ms-office.chartcolorstyle+xml"/>
  <Override PartName="/ppt/charts/chart29.xml" ContentType="application/vnd.openxmlformats-officedocument.drawingml.chart+xml"/>
  <Override PartName="/ppt/charts/style29.xml" ContentType="application/vnd.ms-office.chartstyle+xml"/>
  <Override PartName="/ppt/charts/colors29.xml" ContentType="application/vnd.ms-office.chartcolorstyle+xml"/>
  <Override PartName="/ppt/charts/chart30.xml" ContentType="application/vnd.openxmlformats-officedocument.drawingml.chart+xml"/>
  <Override PartName="/ppt/charts/style30.xml" ContentType="application/vnd.ms-office.chartstyle+xml"/>
  <Override PartName="/ppt/charts/colors30.xml" ContentType="application/vnd.ms-office.chartcolorstyl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7"/>
  </p:notesMasterIdLst>
  <p:sldIdLst>
    <p:sldId id="256" r:id="rId2"/>
    <p:sldId id="302" r:id="rId3"/>
    <p:sldId id="260" r:id="rId4"/>
    <p:sldId id="258" r:id="rId5"/>
    <p:sldId id="259" r:id="rId6"/>
    <p:sldId id="257" r:id="rId7"/>
    <p:sldId id="272" r:id="rId8"/>
    <p:sldId id="303" r:id="rId9"/>
    <p:sldId id="304" r:id="rId10"/>
    <p:sldId id="261" r:id="rId11"/>
    <p:sldId id="305" r:id="rId12"/>
    <p:sldId id="271" r:id="rId13"/>
    <p:sldId id="298" r:id="rId14"/>
    <p:sldId id="297" r:id="rId15"/>
    <p:sldId id="295" r:id="rId16"/>
    <p:sldId id="296" r:id="rId17"/>
    <p:sldId id="293" r:id="rId18"/>
    <p:sldId id="281" r:id="rId19"/>
    <p:sldId id="282" r:id="rId20"/>
    <p:sldId id="283" r:id="rId21"/>
    <p:sldId id="284" r:id="rId22"/>
    <p:sldId id="285" r:id="rId23"/>
    <p:sldId id="286" r:id="rId24"/>
    <p:sldId id="287" r:id="rId25"/>
    <p:sldId id="292" r:id="rId26"/>
    <p:sldId id="288" r:id="rId27"/>
    <p:sldId id="289" r:id="rId28"/>
    <p:sldId id="299" r:id="rId29"/>
    <p:sldId id="290" r:id="rId30"/>
    <p:sldId id="291" r:id="rId31"/>
    <p:sldId id="278" r:id="rId32"/>
    <p:sldId id="273" r:id="rId33"/>
    <p:sldId id="276" r:id="rId34"/>
    <p:sldId id="274" r:id="rId35"/>
    <p:sldId id="275" r:id="rId36"/>
  </p:sldIdLst>
  <p:sldSz cx="12192000" cy="6858000"/>
  <p:notesSz cx="6858000" cy="9144000"/>
  <p:custDataLst>
    <p:tags r:id="rId3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648" userDrawn="1">
          <p15:clr>
            <a:srgbClr val="A4A3A4"/>
          </p15:clr>
        </p15:guide>
        <p15:guide id="2" pos="2976" userDrawn="1">
          <p15:clr>
            <a:srgbClr val="A4A3A4"/>
          </p15:clr>
        </p15:guide>
        <p15:guide id="3" pos="7536" userDrawn="1">
          <p15:clr>
            <a:srgbClr val="A4A3A4"/>
          </p15:clr>
        </p15:guide>
        <p15:guide id="4" orient="horz" pos="4032" userDrawn="1">
          <p15:clr>
            <a:srgbClr val="A4A3A4"/>
          </p15:clr>
        </p15:guide>
        <p15:guide id="5" pos="96" userDrawn="1">
          <p15:clr>
            <a:srgbClr val="A4A3A4"/>
          </p15:clr>
        </p15:guide>
        <p15:guide id="6" pos="2856"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F6481B6-C025-4AC9-B98A-F2FC3DE900F1}" v="131" dt="2023-02-22T00:06:43.491"/>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7" autoAdjust="0"/>
    <p:restoredTop sz="94660"/>
  </p:normalViewPr>
  <p:slideViewPr>
    <p:cSldViewPr snapToGrid="0" showGuides="1">
      <p:cViewPr varScale="1">
        <p:scale>
          <a:sx n="117" d="100"/>
          <a:sy n="117" d="100"/>
        </p:scale>
        <p:origin x="102" y="192"/>
      </p:cViewPr>
      <p:guideLst>
        <p:guide orient="horz" pos="648"/>
        <p:guide pos="2976"/>
        <p:guide pos="7536"/>
        <p:guide orient="horz" pos="4032"/>
        <p:guide pos="96"/>
        <p:guide pos="2856"/>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presProps" Target="presProps.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tableStyles" Target="tableStyle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notesMaster" Target="notesMasters/notesMaster1.xml"/><Relationship Id="rId40"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microsoft.com/office/2015/10/relationships/revisionInfo" Target="revisionInfo.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microsoft.com/office/2016/11/relationships/changesInfo" Target="changesInfos/changesInfo1.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tags" Target="tags/tag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oberto Gallardo" userId="49a044883f185952" providerId="LiveId" clId="{984B092F-BABB-4ECA-959B-D420ECE85B68}"/>
    <pc:docChg chg="custSel modSld">
      <pc:chgData name="Roberto Gallardo" userId="49a044883f185952" providerId="LiveId" clId="{984B092F-BABB-4ECA-959B-D420ECE85B68}" dt="2023-02-06T00:06:29.016" v="551" actId="27918"/>
      <pc:docMkLst>
        <pc:docMk/>
      </pc:docMkLst>
      <pc:sldChg chg="modSp mod">
        <pc:chgData name="Roberto Gallardo" userId="49a044883f185952" providerId="LiveId" clId="{984B092F-BABB-4ECA-959B-D420ECE85B68}" dt="2023-02-05T22:58:20.090" v="22" actId="20577"/>
        <pc:sldMkLst>
          <pc:docMk/>
          <pc:sldMk cId="2846901679" sldId="256"/>
        </pc:sldMkLst>
        <pc:spChg chg="mod">
          <ac:chgData name="Roberto Gallardo" userId="49a044883f185952" providerId="LiveId" clId="{984B092F-BABB-4ECA-959B-D420ECE85B68}" dt="2023-02-05T22:58:20.090" v="22" actId="20577"/>
          <ac:spMkLst>
            <pc:docMk/>
            <pc:sldMk cId="2846901679" sldId="256"/>
            <ac:spMk id="7" creationId="{B1E0ABEC-554C-720A-2772-F0324C8E93CA}"/>
          </ac:spMkLst>
        </pc:spChg>
      </pc:sldChg>
      <pc:sldChg chg="mod">
        <pc:chgData name="Roberto Gallardo" userId="49a044883f185952" providerId="LiveId" clId="{984B092F-BABB-4ECA-959B-D420ECE85B68}" dt="2023-02-05T23:05:44.792" v="48" actId="27918"/>
        <pc:sldMkLst>
          <pc:docMk/>
          <pc:sldMk cId="3231157596" sldId="257"/>
        </pc:sldMkLst>
      </pc:sldChg>
      <pc:sldChg chg="modSp mod">
        <pc:chgData name="Roberto Gallardo" userId="49a044883f185952" providerId="LiveId" clId="{984B092F-BABB-4ECA-959B-D420ECE85B68}" dt="2023-02-05T23:02:37.856" v="36"/>
        <pc:sldMkLst>
          <pc:docMk/>
          <pc:sldMk cId="3702837515" sldId="258"/>
        </pc:sldMkLst>
        <pc:graphicFrameChg chg="mod">
          <ac:chgData name="Roberto Gallardo" userId="49a044883f185952" providerId="LiveId" clId="{984B092F-BABB-4ECA-959B-D420ECE85B68}" dt="2023-02-05T23:02:37.856" v="36"/>
          <ac:graphicFrameMkLst>
            <pc:docMk/>
            <pc:sldMk cId="3702837515" sldId="258"/>
            <ac:graphicFrameMk id="9" creationId="{A966EEC7-83EF-771C-E559-BAB55F5A621C}"/>
          </ac:graphicFrameMkLst>
        </pc:graphicFrameChg>
      </pc:sldChg>
      <pc:sldChg chg="mod">
        <pc:chgData name="Roberto Gallardo" userId="49a044883f185952" providerId="LiveId" clId="{984B092F-BABB-4ECA-959B-D420ECE85B68}" dt="2023-02-05T23:03:14.676" v="42" actId="27918"/>
        <pc:sldMkLst>
          <pc:docMk/>
          <pc:sldMk cId="2519083202" sldId="259"/>
        </pc:sldMkLst>
      </pc:sldChg>
      <pc:sldChg chg="mod">
        <pc:chgData name="Roberto Gallardo" userId="49a044883f185952" providerId="LiveId" clId="{984B092F-BABB-4ECA-959B-D420ECE85B68}" dt="2023-02-05T23:01:24.612" v="29" actId="27918"/>
        <pc:sldMkLst>
          <pc:docMk/>
          <pc:sldMk cId="3877078759" sldId="260"/>
        </pc:sldMkLst>
      </pc:sldChg>
      <pc:sldChg chg="mod">
        <pc:chgData name="Roberto Gallardo" userId="49a044883f185952" providerId="LiveId" clId="{984B092F-BABB-4ECA-959B-D420ECE85B68}" dt="2023-02-05T23:11:00.209" v="75" actId="27918"/>
        <pc:sldMkLst>
          <pc:docMk/>
          <pc:sldMk cId="1175010214" sldId="261"/>
        </pc:sldMkLst>
      </pc:sldChg>
      <pc:sldChg chg="addSp delSp modSp mod">
        <pc:chgData name="Roberto Gallardo" userId="49a044883f185952" providerId="LiveId" clId="{984B092F-BABB-4ECA-959B-D420ECE85B68}" dt="2023-02-05T23:14:52.112" v="109" actId="1076"/>
        <pc:sldMkLst>
          <pc:docMk/>
          <pc:sldMk cId="1418533539" sldId="271"/>
        </pc:sldMkLst>
        <pc:picChg chg="del">
          <ac:chgData name="Roberto Gallardo" userId="49a044883f185952" providerId="LiveId" clId="{984B092F-BABB-4ECA-959B-D420ECE85B68}" dt="2023-02-05T23:11:57.909" v="82" actId="478"/>
          <ac:picMkLst>
            <pc:docMk/>
            <pc:sldMk cId="1418533539" sldId="271"/>
            <ac:picMk id="6" creationId="{AA324F2A-B126-1213-F38B-7FC8BB6EC3B1}"/>
          </ac:picMkLst>
        </pc:picChg>
        <pc:picChg chg="add mod">
          <ac:chgData name="Roberto Gallardo" userId="49a044883f185952" providerId="LiveId" clId="{984B092F-BABB-4ECA-959B-D420ECE85B68}" dt="2023-02-05T23:14:52.112" v="109" actId="1076"/>
          <ac:picMkLst>
            <pc:docMk/>
            <pc:sldMk cId="1418533539" sldId="271"/>
            <ac:picMk id="7" creationId="{CF74D533-2D85-32B8-6A1F-30678252C584}"/>
          </ac:picMkLst>
        </pc:picChg>
      </pc:sldChg>
      <pc:sldChg chg="mod">
        <pc:chgData name="Roberto Gallardo" userId="49a044883f185952" providerId="LiveId" clId="{984B092F-BABB-4ECA-959B-D420ECE85B68}" dt="2023-02-05T23:07:43.867" v="54" actId="27918"/>
        <pc:sldMkLst>
          <pc:docMk/>
          <pc:sldMk cId="2653937722" sldId="272"/>
        </pc:sldMkLst>
      </pc:sldChg>
      <pc:sldChg chg="mod">
        <pc:chgData name="Roberto Gallardo" userId="49a044883f185952" providerId="LiveId" clId="{984B092F-BABB-4ECA-959B-D420ECE85B68}" dt="2023-02-06T00:03:24.874" v="451" actId="27918"/>
        <pc:sldMkLst>
          <pc:docMk/>
          <pc:sldMk cId="2076698419" sldId="273"/>
        </pc:sldMkLst>
      </pc:sldChg>
      <pc:sldChg chg="mod">
        <pc:chgData name="Roberto Gallardo" userId="49a044883f185952" providerId="LiveId" clId="{984B092F-BABB-4ECA-959B-D420ECE85B68}" dt="2023-02-06T00:06:02.992" v="547" actId="27918"/>
        <pc:sldMkLst>
          <pc:docMk/>
          <pc:sldMk cId="3802335161" sldId="274"/>
        </pc:sldMkLst>
      </pc:sldChg>
      <pc:sldChg chg="mod">
        <pc:chgData name="Roberto Gallardo" userId="49a044883f185952" providerId="LiveId" clId="{984B092F-BABB-4ECA-959B-D420ECE85B68}" dt="2023-02-06T00:06:29.016" v="551" actId="27918"/>
        <pc:sldMkLst>
          <pc:docMk/>
          <pc:sldMk cId="4292554322" sldId="275"/>
        </pc:sldMkLst>
      </pc:sldChg>
      <pc:sldChg chg="modSp mod">
        <pc:chgData name="Roberto Gallardo" userId="49a044883f185952" providerId="LiveId" clId="{984B092F-BABB-4ECA-959B-D420ECE85B68}" dt="2023-02-06T00:05:16.941" v="543" actId="20577"/>
        <pc:sldMkLst>
          <pc:docMk/>
          <pc:sldMk cId="513409896" sldId="276"/>
        </pc:sldMkLst>
        <pc:spChg chg="mod">
          <ac:chgData name="Roberto Gallardo" userId="49a044883f185952" providerId="LiveId" clId="{984B092F-BABB-4ECA-959B-D420ECE85B68}" dt="2023-02-06T00:05:16.941" v="543" actId="20577"/>
          <ac:spMkLst>
            <pc:docMk/>
            <pc:sldMk cId="513409896" sldId="276"/>
            <ac:spMk id="21" creationId="{9A68ADBE-AECC-EE60-7E94-3675B33E08AE}"/>
          </ac:spMkLst>
        </pc:spChg>
        <pc:cxnChg chg="mod">
          <ac:chgData name="Roberto Gallardo" userId="49a044883f185952" providerId="LiveId" clId="{984B092F-BABB-4ECA-959B-D420ECE85B68}" dt="2023-02-06T00:04:49.210" v="526" actId="1036"/>
          <ac:cxnSpMkLst>
            <pc:docMk/>
            <pc:sldMk cId="513409896" sldId="276"/>
            <ac:cxnSpMk id="22" creationId="{1B423FA0-E4B3-6570-929B-A9283D503787}"/>
          </ac:cxnSpMkLst>
        </pc:cxnChg>
        <pc:cxnChg chg="mod">
          <ac:chgData name="Roberto Gallardo" userId="49a044883f185952" providerId="LiveId" clId="{984B092F-BABB-4ECA-959B-D420ECE85B68}" dt="2023-02-06T00:04:34.567" v="489" actId="1036"/>
          <ac:cxnSpMkLst>
            <pc:docMk/>
            <pc:sldMk cId="513409896" sldId="276"/>
            <ac:cxnSpMk id="23" creationId="{D616797E-0044-3804-BA5A-23B8EB309CA5}"/>
          </ac:cxnSpMkLst>
        </pc:cxnChg>
        <pc:cxnChg chg="mod">
          <ac:chgData name="Roberto Gallardo" userId="49a044883f185952" providerId="LiveId" clId="{984B092F-BABB-4ECA-959B-D420ECE85B68}" dt="2023-02-06T00:05:03.092" v="539" actId="14100"/>
          <ac:cxnSpMkLst>
            <pc:docMk/>
            <pc:sldMk cId="513409896" sldId="276"/>
            <ac:cxnSpMk id="24" creationId="{20A6256E-6780-BAE0-B803-D02FE024579F}"/>
          </ac:cxnSpMkLst>
        </pc:cxnChg>
        <pc:cxnChg chg="mod">
          <ac:chgData name="Roberto Gallardo" userId="49a044883f185952" providerId="LiveId" clId="{984B092F-BABB-4ECA-959B-D420ECE85B68}" dt="2023-02-06T00:04:54.686" v="527" actId="14100"/>
          <ac:cxnSpMkLst>
            <pc:docMk/>
            <pc:sldMk cId="513409896" sldId="276"/>
            <ac:cxnSpMk id="25" creationId="{62B7492E-2C75-E0CD-947E-C582F412F7D7}"/>
          </ac:cxnSpMkLst>
        </pc:cxnChg>
      </pc:sldChg>
      <pc:sldChg chg="mod">
        <pc:chgData name="Roberto Gallardo" userId="49a044883f185952" providerId="LiveId" clId="{984B092F-BABB-4ECA-959B-D420ECE85B68}" dt="2023-02-06T00:02:53.265" v="446" actId="27918"/>
        <pc:sldMkLst>
          <pc:docMk/>
          <pc:sldMk cId="349244952" sldId="278"/>
        </pc:sldMkLst>
      </pc:sldChg>
      <pc:sldChg chg="addSp delSp modSp mod">
        <pc:chgData name="Roberto Gallardo" userId="49a044883f185952" providerId="LiveId" clId="{984B092F-BABB-4ECA-959B-D420ECE85B68}" dt="2023-02-05T23:24:37.321" v="203" actId="1076"/>
        <pc:sldMkLst>
          <pc:docMk/>
          <pc:sldMk cId="2124848710" sldId="281"/>
        </pc:sldMkLst>
        <pc:picChg chg="add mod">
          <ac:chgData name="Roberto Gallardo" userId="49a044883f185952" providerId="LiveId" clId="{984B092F-BABB-4ECA-959B-D420ECE85B68}" dt="2023-02-05T23:24:37.321" v="203" actId="1076"/>
          <ac:picMkLst>
            <pc:docMk/>
            <pc:sldMk cId="2124848710" sldId="281"/>
            <ac:picMk id="5" creationId="{48719103-E2CA-CC6F-A9D3-6D2BD284EC6D}"/>
          </ac:picMkLst>
        </pc:picChg>
        <pc:picChg chg="del">
          <ac:chgData name="Roberto Gallardo" userId="49a044883f185952" providerId="LiveId" clId="{984B092F-BABB-4ECA-959B-D420ECE85B68}" dt="2023-02-05T23:12:22.794" v="88" actId="478"/>
          <ac:picMkLst>
            <pc:docMk/>
            <pc:sldMk cId="2124848710" sldId="281"/>
            <ac:picMk id="8" creationId="{B2C7F90E-076E-E7F4-6353-0557D09C4DB8}"/>
          </ac:picMkLst>
        </pc:picChg>
      </pc:sldChg>
      <pc:sldChg chg="addSp delSp modSp mod">
        <pc:chgData name="Roberto Gallardo" userId="49a044883f185952" providerId="LiveId" clId="{984B092F-BABB-4ECA-959B-D420ECE85B68}" dt="2023-02-05T23:26:19.743" v="221" actId="1076"/>
        <pc:sldMkLst>
          <pc:docMk/>
          <pc:sldMk cId="2028175529" sldId="282"/>
        </pc:sldMkLst>
        <pc:picChg chg="del">
          <ac:chgData name="Roberto Gallardo" userId="49a044883f185952" providerId="LiveId" clId="{984B092F-BABB-4ECA-959B-D420ECE85B68}" dt="2023-02-05T23:12:25.937" v="89" actId="478"/>
          <ac:picMkLst>
            <pc:docMk/>
            <pc:sldMk cId="2028175529" sldId="282"/>
            <ac:picMk id="5" creationId="{260C7A0C-0951-FADF-30D5-25F9F86F74C3}"/>
          </ac:picMkLst>
        </pc:picChg>
        <pc:picChg chg="add mod">
          <ac:chgData name="Roberto Gallardo" userId="49a044883f185952" providerId="LiveId" clId="{984B092F-BABB-4ECA-959B-D420ECE85B68}" dt="2023-02-05T23:26:19.743" v="221" actId="1076"/>
          <ac:picMkLst>
            <pc:docMk/>
            <pc:sldMk cId="2028175529" sldId="282"/>
            <ac:picMk id="8" creationId="{CFE023EC-0FF0-6406-85A7-175F15D08D2F}"/>
          </ac:picMkLst>
        </pc:picChg>
      </pc:sldChg>
      <pc:sldChg chg="addSp delSp modSp mod">
        <pc:chgData name="Roberto Gallardo" userId="49a044883f185952" providerId="LiveId" clId="{984B092F-BABB-4ECA-959B-D420ECE85B68}" dt="2023-02-05T23:28:08.555" v="242" actId="1076"/>
        <pc:sldMkLst>
          <pc:docMk/>
          <pc:sldMk cId="1326517747" sldId="283"/>
        </pc:sldMkLst>
        <pc:picChg chg="del">
          <ac:chgData name="Roberto Gallardo" userId="49a044883f185952" providerId="LiveId" clId="{984B092F-BABB-4ECA-959B-D420ECE85B68}" dt="2023-02-05T23:12:31.477" v="90" actId="478"/>
          <ac:picMkLst>
            <pc:docMk/>
            <pc:sldMk cId="1326517747" sldId="283"/>
            <ac:picMk id="5" creationId="{D5820370-CCF1-A1EF-BE00-D7215C0A77FB}"/>
          </ac:picMkLst>
        </pc:picChg>
        <pc:picChg chg="add mod">
          <ac:chgData name="Roberto Gallardo" userId="49a044883f185952" providerId="LiveId" clId="{984B092F-BABB-4ECA-959B-D420ECE85B68}" dt="2023-02-05T23:28:08.555" v="242" actId="1076"/>
          <ac:picMkLst>
            <pc:docMk/>
            <pc:sldMk cId="1326517747" sldId="283"/>
            <ac:picMk id="8" creationId="{9A29E625-A19A-7665-D4A2-F80734D2096C}"/>
          </ac:picMkLst>
        </pc:picChg>
      </pc:sldChg>
      <pc:sldChg chg="addSp delSp modSp mod">
        <pc:chgData name="Roberto Gallardo" userId="49a044883f185952" providerId="LiveId" clId="{984B092F-BABB-4ECA-959B-D420ECE85B68}" dt="2023-02-05T23:29:33.410" v="260" actId="1076"/>
        <pc:sldMkLst>
          <pc:docMk/>
          <pc:sldMk cId="783739251" sldId="284"/>
        </pc:sldMkLst>
        <pc:picChg chg="del">
          <ac:chgData name="Roberto Gallardo" userId="49a044883f185952" providerId="LiveId" clId="{984B092F-BABB-4ECA-959B-D420ECE85B68}" dt="2023-02-05T23:12:34.762" v="91" actId="478"/>
          <ac:picMkLst>
            <pc:docMk/>
            <pc:sldMk cId="783739251" sldId="284"/>
            <ac:picMk id="5" creationId="{51A0082B-6724-5BA2-83DB-9E6F050C4194}"/>
          </ac:picMkLst>
        </pc:picChg>
        <pc:picChg chg="add mod">
          <ac:chgData name="Roberto Gallardo" userId="49a044883f185952" providerId="LiveId" clId="{984B092F-BABB-4ECA-959B-D420ECE85B68}" dt="2023-02-05T23:29:33.410" v="260" actId="1076"/>
          <ac:picMkLst>
            <pc:docMk/>
            <pc:sldMk cId="783739251" sldId="284"/>
            <ac:picMk id="8" creationId="{63CDE078-CCBF-8497-C770-4245D0782293}"/>
          </ac:picMkLst>
        </pc:picChg>
      </pc:sldChg>
      <pc:sldChg chg="addSp delSp modSp mod">
        <pc:chgData name="Roberto Gallardo" userId="49a044883f185952" providerId="LiveId" clId="{984B092F-BABB-4ECA-959B-D420ECE85B68}" dt="2023-02-05T23:31:07.189" v="278" actId="1076"/>
        <pc:sldMkLst>
          <pc:docMk/>
          <pc:sldMk cId="1676122233" sldId="285"/>
        </pc:sldMkLst>
        <pc:picChg chg="del">
          <ac:chgData name="Roberto Gallardo" userId="49a044883f185952" providerId="LiveId" clId="{984B092F-BABB-4ECA-959B-D420ECE85B68}" dt="2023-02-05T23:12:38.193" v="92" actId="478"/>
          <ac:picMkLst>
            <pc:docMk/>
            <pc:sldMk cId="1676122233" sldId="285"/>
            <ac:picMk id="5" creationId="{530164EF-188D-6031-69E1-DAEB594BD715}"/>
          </ac:picMkLst>
        </pc:picChg>
        <pc:picChg chg="add mod">
          <ac:chgData name="Roberto Gallardo" userId="49a044883f185952" providerId="LiveId" clId="{984B092F-BABB-4ECA-959B-D420ECE85B68}" dt="2023-02-05T23:31:07.189" v="278" actId="1076"/>
          <ac:picMkLst>
            <pc:docMk/>
            <pc:sldMk cId="1676122233" sldId="285"/>
            <ac:picMk id="8" creationId="{301A97BC-685B-5788-F49B-36F9BF8D7A6A}"/>
          </ac:picMkLst>
        </pc:picChg>
      </pc:sldChg>
      <pc:sldChg chg="addSp delSp modSp mod">
        <pc:chgData name="Roberto Gallardo" userId="49a044883f185952" providerId="LiveId" clId="{984B092F-BABB-4ECA-959B-D420ECE85B68}" dt="2023-02-05T23:33:29.325" v="295" actId="1076"/>
        <pc:sldMkLst>
          <pc:docMk/>
          <pc:sldMk cId="3100398757" sldId="286"/>
        </pc:sldMkLst>
        <pc:picChg chg="del">
          <ac:chgData name="Roberto Gallardo" userId="49a044883f185952" providerId="LiveId" clId="{984B092F-BABB-4ECA-959B-D420ECE85B68}" dt="2023-02-05T23:12:41.729" v="93" actId="478"/>
          <ac:picMkLst>
            <pc:docMk/>
            <pc:sldMk cId="3100398757" sldId="286"/>
            <ac:picMk id="5" creationId="{81384F42-FB82-8586-B860-364340637A94}"/>
          </ac:picMkLst>
        </pc:picChg>
        <pc:picChg chg="add mod">
          <ac:chgData name="Roberto Gallardo" userId="49a044883f185952" providerId="LiveId" clId="{984B092F-BABB-4ECA-959B-D420ECE85B68}" dt="2023-02-05T23:33:29.325" v="295" actId="1076"/>
          <ac:picMkLst>
            <pc:docMk/>
            <pc:sldMk cId="3100398757" sldId="286"/>
            <ac:picMk id="8" creationId="{1B94F364-0690-10E3-7A2A-1C3CCDD3C930}"/>
          </ac:picMkLst>
        </pc:picChg>
      </pc:sldChg>
      <pc:sldChg chg="addSp delSp modSp mod">
        <pc:chgData name="Roberto Gallardo" userId="49a044883f185952" providerId="LiveId" clId="{984B092F-BABB-4ECA-959B-D420ECE85B68}" dt="2023-02-05T23:35:12.725" v="315" actId="1076"/>
        <pc:sldMkLst>
          <pc:docMk/>
          <pc:sldMk cId="1546475425" sldId="287"/>
        </pc:sldMkLst>
        <pc:picChg chg="del">
          <ac:chgData name="Roberto Gallardo" userId="49a044883f185952" providerId="LiveId" clId="{984B092F-BABB-4ECA-959B-D420ECE85B68}" dt="2023-02-05T23:12:45.416" v="94" actId="478"/>
          <ac:picMkLst>
            <pc:docMk/>
            <pc:sldMk cId="1546475425" sldId="287"/>
            <ac:picMk id="5" creationId="{9E9D876E-9747-F78D-891D-F8A446A515CF}"/>
          </ac:picMkLst>
        </pc:picChg>
        <pc:picChg chg="add mod">
          <ac:chgData name="Roberto Gallardo" userId="49a044883f185952" providerId="LiveId" clId="{984B092F-BABB-4ECA-959B-D420ECE85B68}" dt="2023-02-05T23:35:12.725" v="315" actId="1076"/>
          <ac:picMkLst>
            <pc:docMk/>
            <pc:sldMk cId="1546475425" sldId="287"/>
            <ac:picMk id="8" creationId="{CAA855F8-29C0-6C54-C3A3-891AD3FBAC60}"/>
          </ac:picMkLst>
        </pc:picChg>
      </pc:sldChg>
      <pc:sldChg chg="addSp delSp modSp mod">
        <pc:chgData name="Roberto Gallardo" userId="49a044883f185952" providerId="LiveId" clId="{984B092F-BABB-4ECA-959B-D420ECE85B68}" dt="2023-02-05T23:38:33.800" v="351" actId="1076"/>
        <pc:sldMkLst>
          <pc:docMk/>
          <pc:sldMk cId="1380517306" sldId="288"/>
        </pc:sldMkLst>
        <pc:picChg chg="del">
          <ac:chgData name="Roberto Gallardo" userId="49a044883f185952" providerId="LiveId" clId="{984B092F-BABB-4ECA-959B-D420ECE85B68}" dt="2023-02-05T23:12:53.882" v="96" actId="478"/>
          <ac:picMkLst>
            <pc:docMk/>
            <pc:sldMk cId="1380517306" sldId="288"/>
            <ac:picMk id="5" creationId="{B56955DC-09E5-145F-D5EA-7A4828711AD9}"/>
          </ac:picMkLst>
        </pc:picChg>
        <pc:picChg chg="add mod">
          <ac:chgData name="Roberto Gallardo" userId="49a044883f185952" providerId="LiveId" clId="{984B092F-BABB-4ECA-959B-D420ECE85B68}" dt="2023-02-05T23:38:33.800" v="351" actId="1076"/>
          <ac:picMkLst>
            <pc:docMk/>
            <pc:sldMk cId="1380517306" sldId="288"/>
            <ac:picMk id="8" creationId="{1269BCA3-CB6D-5913-CFF9-17C7374E8DE0}"/>
          </ac:picMkLst>
        </pc:picChg>
      </pc:sldChg>
      <pc:sldChg chg="addSp delSp modSp mod">
        <pc:chgData name="Roberto Gallardo" userId="49a044883f185952" providerId="LiveId" clId="{984B092F-BABB-4ECA-959B-D420ECE85B68}" dt="2023-02-05T23:41:10.344" v="375" actId="1076"/>
        <pc:sldMkLst>
          <pc:docMk/>
          <pc:sldMk cId="1388671151" sldId="289"/>
        </pc:sldMkLst>
        <pc:picChg chg="del">
          <ac:chgData name="Roberto Gallardo" userId="49a044883f185952" providerId="LiveId" clId="{984B092F-BABB-4ECA-959B-D420ECE85B68}" dt="2023-02-05T23:12:57.100" v="97" actId="478"/>
          <ac:picMkLst>
            <pc:docMk/>
            <pc:sldMk cId="1388671151" sldId="289"/>
            <ac:picMk id="5" creationId="{D914859F-2C47-69E5-C8E5-153B565AD678}"/>
          </ac:picMkLst>
        </pc:picChg>
        <pc:picChg chg="add mod">
          <ac:chgData name="Roberto Gallardo" userId="49a044883f185952" providerId="LiveId" clId="{984B092F-BABB-4ECA-959B-D420ECE85B68}" dt="2023-02-05T23:41:10.344" v="375" actId="1076"/>
          <ac:picMkLst>
            <pc:docMk/>
            <pc:sldMk cId="1388671151" sldId="289"/>
            <ac:picMk id="8" creationId="{6D17C1DE-5762-AC51-F9BA-92346D9A815C}"/>
          </ac:picMkLst>
        </pc:picChg>
      </pc:sldChg>
      <pc:sldChg chg="addSp delSp modSp mod">
        <pc:chgData name="Roberto Gallardo" userId="49a044883f185952" providerId="LiveId" clId="{984B092F-BABB-4ECA-959B-D420ECE85B68}" dt="2023-02-06T00:00:07.023" v="425" actId="1038"/>
        <pc:sldMkLst>
          <pc:docMk/>
          <pc:sldMk cId="2355376039" sldId="290"/>
        </pc:sldMkLst>
        <pc:picChg chg="add mod">
          <ac:chgData name="Roberto Gallardo" userId="49a044883f185952" providerId="LiveId" clId="{984B092F-BABB-4ECA-959B-D420ECE85B68}" dt="2023-02-06T00:00:07.023" v="425" actId="1038"/>
          <ac:picMkLst>
            <pc:docMk/>
            <pc:sldMk cId="2355376039" sldId="290"/>
            <ac:picMk id="8" creationId="{5DA0350F-FE6D-53CB-2AFD-AA6A8980488E}"/>
          </ac:picMkLst>
        </pc:picChg>
        <pc:picChg chg="del">
          <ac:chgData name="Roberto Gallardo" userId="49a044883f185952" providerId="LiveId" clId="{984B092F-BABB-4ECA-959B-D420ECE85B68}" dt="2023-02-05T23:13:04.913" v="99" actId="478"/>
          <ac:picMkLst>
            <pc:docMk/>
            <pc:sldMk cId="2355376039" sldId="290"/>
            <ac:picMk id="9" creationId="{FBDED459-655E-6F8F-68B1-AF4AA58F1F84}"/>
          </ac:picMkLst>
        </pc:picChg>
      </pc:sldChg>
      <pc:sldChg chg="addSp delSp modSp mod">
        <pc:chgData name="Roberto Gallardo" userId="49a044883f185952" providerId="LiveId" clId="{984B092F-BABB-4ECA-959B-D420ECE85B68}" dt="2023-02-06T00:01:39.251" v="442" actId="1076"/>
        <pc:sldMkLst>
          <pc:docMk/>
          <pc:sldMk cId="3757257295" sldId="291"/>
        </pc:sldMkLst>
        <pc:picChg chg="del">
          <ac:chgData name="Roberto Gallardo" userId="49a044883f185952" providerId="LiveId" clId="{984B092F-BABB-4ECA-959B-D420ECE85B68}" dt="2023-02-05T23:13:09.677" v="100" actId="478"/>
          <ac:picMkLst>
            <pc:docMk/>
            <pc:sldMk cId="3757257295" sldId="291"/>
            <ac:picMk id="7" creationId="{A8C2B9C6-FE6E-6FFB-23EF-BFF18FD3ADBC}"/>
          </ac:picMkLst>
        </pc:picChg>
        <pc:picChg chg="add mod">
          <ac:chgData name="Roberto Gallardo" userId="49a044883f185952" providerId="LiveId" clId="{984B092F-BABB-4ECA-959B-D420ECE85B68}" dt="2023-02-06T00:01:39.251" v="442" actId="1076"/>
          <ac:picMkLst>
            <pc:docMk/>
            <pc:sldMk cId="3757257295" sldId="291"/>
            <ac:picMk id="8" creationId="{AEE7ABCB-D0B0-3A13-45A8-D2CBAAA77EA6}"/>
          </ac:picMkLst>
        </pc:picChg>
      </pc:sldChg>
      <pc:sldChg chg="addSp delSp modSp mod">
        <pc:chgData name="Roberto Gallardo" userId="49a044883f185952" providerId="LiveId" clId="{984B092F-BABB-4ECA-959B-D420ECE85B68}" dt="2023-02-05T23:36:52.771" v="331" actId="1076"/>
        <pc:sldMkLst>
          <pc:docMk/>
          <pc:sldMk cId="1259856727" sldId="292"/>
        </pc:sldMkLst>
        <pc:picChg chg="del">
          <ac:chgData name="Roberto Gallardo" userId="49a044883f185952" providerId="LiveId" clId="{984B092F-BABB-4ECA-959B-D420ECE85B68}" dt="2023-02-05T23:12:50.830" v="95" actId="478"/>
          <ac:picMkLst>
            <pc:docMk/>
            <pc:sldMk cId="1259856727" sldId="292"/>
            <ac:picMk id="5" creationId="{B48EF86A-52C3-AB58-168F-16F2880765DB}"/>
          </ac:picMkLst>
        </pc:picChg>
        <pc:picChg chg="add mod">
          <ac:chgData name="Roberto Gallardo" userId="49a044883f185952" providerId="LiveId" clId="{984B092F-BABB-4ECA-959B-D420ECE85B68}" dt="2023-02-05T23:36:52.771" v="331" actId="1076"/>
          <ac:picMkLst>
            <pc:docMk/>
            <pc:sldMk cId="1259856727" sldId="292"/>
            <ac:picMk id="8" creationId="{CF00FD28-5E38-7692-A3B9-F2069E86DAA8}"/>
          </ac:picMkLst>
        </pc:picChg>
      </pc:sldChg>
      <pc:sldChg chg="addSp delSp modSp mod">
        <pc:chgData name="Roberto Gallardo" userId="49a044883f185952" providerId="LiveId" clId="{984B092F-BABB-4ECA-959B-D420ECE85B68}" dt="2023-02-05T23:22:39.001" v="186" actId="1076"/>
        <pc:sldMkLst>
          <pc:docMk/>
          <pc:sldMk cId="3324519687" sldId="293"/>
        </pc:sldMkLst>
        <pc:picChg chg="del">
          <ac:chgData name="Roberto Gallardo" userId="49a044883f185952" providerId="LiveId" clId="{984B092F-BABB-4ECA-959B-D420ECE85B68}" dt="2023-02-05T23:12:18.094" v="87" actId="478"/>
          <ac:picMkLst>
            <pc:docMk/>
            <pc:sldMk cId="3324519687" sldId="293"/>
            <ac:picMk id="7" creationId="{A60F00B6-02AC-6AA9-3D46-B7D23CB693CF}"/>
          </ac:picMkLst>
        </pc:picChg>
        <pc:picChg chg="add mod">
          <ac:chgData name="Roberto Gallardo" userId="49a044883f185952" providerId="LiveId" clId="{984B092F-BABB-4ECA-959B-D420ECE85B68}" dt="2023-02-05T23:22:39.001" v="186" actId="1076"/>
          <ac:picMkLst>
            <pc:docMk/>
            <pc:sldMk cId="3324519687" sldId="293"/>
            <ac:picMk id="9" creationId="{857220EB-001E-BBC5-093B-8C24596738CE}"/>
          </ac:picMkLst>
        </pc:picChg>
      </pc:sldChg>
      <pc:sldChg chg="addSp delSp modSp mod">
        <pc:chgData name="Roberto Gallardo" userId="49a044883f185952" providerId="LiveId" clId="{984B092F-BABB-4ECA-959B-D420ECE85B68}" dt="2023-02-05T23:18:44.415" v="149" actId="1076"/>
        <pc:sldMkLst>
          <pc:docMk/>
          <pc:sldMk cId="3256182630" sldId="295"/>
        </pc:sldMkLst>
        <pc:picChg chg="add mod">
          <ac:chgData name="Roberto Gallardo" userId="49a044883f185952" providerId="LiveId" clId="{984B092F-BABB-4ECA-959B-D420ECE85B68}" dt="2023-02-05T23:18:44.415" v="149" actId="1076"/>
          <ac:picMkLst>
            <pc:docMk/>
            <pc:sldMk cId="3256182630" sldId="295"/>
            <ac:picMk id="6" creationId="{93D8D6F0-D0A9-FCE5-B024-33062FB98A83}"/>
          </ac:picMkLst>
        </pc:picChg>
        <pc:picChg chg="del">
          <ac:chgData name="Roberto Gallardo" userId="49a044883f185952" providerId="LiveId" clId="{984B092F-BABB-4ECA-959B-D420ECE85B68}" dt="2023-02-05T23:12:09.606" v="85" actId="478"/>
          <ac:picMkLst>
            <pc:docMk/>
            <pc:sldMk cId="3256182630" sldId="295"/>
            <ac:picMk id="7" creationId="{F5F485D3-05AE-5D7F-37DB-43ABCEBD3703}"/>
          </ac:picMkLst>
        </pc:picChg>
      </pc:sldChg>
      <pc:sldChg chg="addSp delSp modSp mod">
        <pc:chgData name="Roberto Gallardo" userId="49a044883f185952" providerId="LiveId" clId="{984B092F-BABB-4ECA-959B-D420ECE85B68}" dt="2023-02-05T23:20:30.670" v="169" actId="1076"/>
        <pc:sldMkLst>
          <pc:docMk/>
          <pc:sldMk cId="4057156843" sldId="296"/>
        </pc:sldMkLst>
        <pc:picChg chg="del">
          <ac:chgData name="Roberto Gallardo" userId="49a044883f185952" providerId="LiveId" clId="{984B092F-BABB-4ECA-959B-D420ECE85B68}" dt="2023-02-05T23:12:14.346" v="86" actId="478"/>
          <ac:picMkLst>
            <pc:docMk/>
            <pc:sldMk cId="4057156843" sldId="296"/>
            <ac:picMk id="6" creationId="{C8B8A69D-FF68-B96E-56CB-FCCDC75BF626}"/>
          </ac:picMkLst>
        </pc:picChg>
        <pc:picChg chg="add mod">
          <ac:chgData name="Roberto Gallardo" userId="49a044883f185952" providerId="LiveId" clId="{984B092F-BABB-4ECA-959B-D420ECE85B68}" dt="2023-02-05T23:20:30.670" v="169" actId="1076"/>
          <ac:picMkLst>
            <pc:docMk/>
            <pc:sldMk cId="4057156843" sldId="296"/>
            <ac:picMk id="7" creationId="{98D345FF-36E0-779A-A6AA-657BDCF6BCE3}"/>
          </ac:picMkLst>
        </pc:picChg>
      </pc:sldChg>
      <pc:sldChg chg="addSp delSp modSp mod">
        <pc:chgData name="Roberto Gallardo" userId="49a044883f185952" providerId="LiveId" clId="{984B092F-BABB-4ECA-959B-D420ECE85B68}" dt="2023-02-05T23:16:21.034" v="132" actId="1076"/>
        <pc:sldMkLst>
          <pc:docMk/>
          <pc:sldMk cId="2080110827" sldId="297"/>
        </pc:sldMkLst>
        <pc:picChg chg="del">
          <ac:chgData name="Roberto Gallardo" userId="49a044883f185952" providerId="LiveId" clId="{984B092F-BABB-4ECA-959B-D420ECE85B68}" dt="2023-02-05T23:12:05.995" v="84" actId="478"/>
          <ac:picMkLst>
            <pc:docMk/>
            <pc:sldMk cId="2080110827" sldId="297"/>
            <ac:picMk id="6" creationId="{1889EED2-D6E5-E4E3-73B3-31E3AF9615E2}"/>
          </ac:picMkLst>
        </pc:picChg>
        <pc:picChg chg="add mod">
          <ac:chgData name="Roberto Gallardo" userId="49a044883f185952" providerId="LiveId" clId="{984B092F-BABB-4ECA-959B-D420ECE85B68}" dt="2023-02-05T23:16:21.034" v="132" actId="1076"/>
          <ac:picMkLst>
            <pc:docMk/>
            <pc:sldMk cId="2080110827" sldId="297"/>
            <ac:picMk id="7" creationId="{FA7AA24C-289D-D5F1-A79D-1877B250B48C}"/>
          </ac:picMkLst>
        </pc:picChg>
      </pc:sldChg>
      <pc:sldChg chg="addSp delSp modSp mod">
        <pc:chgData name="Roberto Gallardo" userId="49a044883f185952" providerId="LiveId" clId="{984B092F-BABB-4ECA-959B-D420ECE85B68}" dt="2023-02-05T23:15:32.929" v="122" actId="1035"/>
        <pc:sldMkLst>
          <pc:docMk/>
          <pc:sldMk cId="1532666867" sldId="298"/>
        </pc:sldMkLst>
        <pc:picChg chg="add mod">
          <ac:chgData name="Roberto Gallardo" userId="49a044883f185952" providerId="LiveId" clId="{984B092F-BABB-4ECA-959B-D420ECE85B68}" dt="2023-02-05T23:15:32.929" v="122" actId="1035"/>
          <ac:picMkLst>
            <pc:docMk/>
            <pc:sldMk cId="1532666867" sldId="298"/>
            <ac:picMk id="6" creationId="{DF76BE9D-2515-C01B-6750-0A70245BBEC0}"/>
          </ac:picMkLst>
        </pc:picChg>
        <pc:picChg chg="del">
          <ac:chgData name="Roberto Gallardo" userId="49a044883f185952" providerId="LiveId" clId="{984B092F-BABB-4ECA-959B-D420ECE85B68}" dt="2023-02-05T23:12:02.951" v="83" actId="478"/>
          <ac:picMkLst>
            <pc:docMk/>
            <pc:sldMk cId="1532666867" sldId="298"/>
            <ac:picMk id="7" creationId="{EC553BCD-1BFE-BD14-331F-7EFEA6532C3B}"/>
          </ac:picMkLst>
        </pc:picChg>
      </pc:sldChg>
      <pc:sldChg chg="addSp delSp modSp mod">
        <pc:chgData name="Roberto Gallardo" userId="49a044883f185952" providerId="LiveId" clId="{984B092F-BABB-4ECA-959B-D420ECE85B68}" dt="2023-02-05T23:58:30.984" v="391" actId="1076"/>
        <pc:sldMkLst>
          <pc:docMk/>
          <pc:sldMk cId="1951376777" sldId="299"/>
        </pc:sldMkLst>
        <pc:picChg chg="add mod">
          <ac:chgData name="Roberto Gallardo" userId="49a044883f185952" providerId="LiveId" clId="{984B092F-BABB-4ECA-959B-D420ECE85B68}" dt="2023-02-05T23:58:30.984" v="391" actId="1076"/>
          <ac:picMkLst>
            <pc:docMk/>
            <pc:sldMk cId="1951376777" sldId="299"/>
            <ac:picMk id="5" creationId="{B3B698FB-4AEA-CDBC-DBD6-2BFDA8D589E3}"/>
          </ac:picMkLst>
        </pc:picChg>
        <pc:picChg chg="del">
          <ac:chgData name="Roberto Gallardo" userId="49a044883f185952" providerId="LiveId" clId="{984B092F-BABB-4ECA-959B-D420ECE85B68}" dt="2023-02-05T23:13:01.375" v="98" actId="478"/>
          <ac:picMkLst>
            <pc:docMk/>
            <pc:sldMk cId="1951376777" sldId="299"/>
            <ac:picMk id="8" creationId="{E81B59CA-9234-ED7C-9930-EBA794BB9820}"/>
          </ac:picMkLst>
        </pc:picChg>
      </pc:sldChg>
      <pc:sldChg chg="mod">
        <pc:chgData name="Roberto Gallardo" userId="49a044883f185952" providerId="LiveId" clId="{984B092F-BABB-4ECA-959B-D420ECE85B68}" dt="2023-02-05T23:08:25.184" v="60" actId="27918"/>
        <pc:sldMkLst>
          <pc:docMk/>
          <pc:sldMk cId="2841628872" sldId="303"/>
        </pc:sldMkLst>
      </pc:sldChg>
      <pc:sldChg chg="mod">
        <pc:chgData name="Roberto Gallardo" userId="49a044883f185952" providerId="LiveId" clId="{984B092F-BABB-4ECA-959B-D420ECE85B68}" dt="2023-02-05T23:10:07.378" v="66" actId="27918"/>
        <pc:sldMkLst>
          <pc:docMk/>
          <pc:sldMk cId="3084076302" sldId="304"/>
        </pc:sldMkLst>
      </pc:sldChg>
      <pc:sldChg chg="mod">
        <pc:chgData name="Roberto Gallardo" userId="49a044883f185952" providerId="LiveId" clId="{984B092F-BABB-4ECA-959B-D420ECE85B68}" dt="2023-02-05T23:11:43.532" v="81" actId="27918"/>
        <pc:sldMkLst>
          <pc:docMk/>
          <pc:sldMk cId="473712435" sldId="305"/>
        </pc:sldMkLst>
      </pc:sldChg>
    </pc:docChg>
  </pc:docChgLst>
  <pc:docChgLst>
    <pc:chgData name="Roberto Gallardo" userId="49a044883f185952" providerId="LiveId" clId="{CF6481B6-C025-4AC9-B98A-F2FC3DE900F1}"/>
    <pc:docChg chg="undo custSel modSld">
      <pc:chgData name="Roberto Gallardo" userId="49a044883f185952" providerId="LiveId" clId="{CF6481B6-C025-4AC9-B98A-F2FC3DE900F1}" dt="2023-02-22T00:37:19.919" v="1464" actId="27918"/>
      <pc:docMkLst>
        <pc:docMk/>
      </pc:docMkLst>
      <pc:sldChg chg="modSp mod">
        <pc:chgData name="Roberto Gallardo" userId="49a044883f185952" providerId="LiveId" clId="{CF6481B6-C025-4AC9-B98A-F2FC3DE900F1}" dt="2023-02-07T23:55:17.100" v="14" actId="20577"/>
        <pc:sldMkLst>
          <pc:docMk/>
          <pc:sldMk cId="2846901679" sldId="256"/>
        </pc:sldMkLst>
        <pc:spChg chg="mod">
          <ac:chgData name="Roberto Gallardo" userId="49a044883f185952" providerId="LiveId" clId="{CF6481B6-C025-4AC9-B98A-F2FC3DE900F1}" dt="2023-02-07T23:55:17.100" v="14" actId="20577"/>
          <ac:spMkLst>
            <pc:docMk/>
            <pc:sldMk cId="2846901679" sldId="256"/>
            <ac:spMk id="7" creationId="{B1E0ABEC-554C-720A-2772-F0324C8E93CA}"/>
          </ac:spMkLst>
        </pc:spChg>
      </pc:sldChg>
      <pc:sldChg chg="modSp mod">
        <pc:chgData name="Roberto Gallardo" userId="49a044883f185952" providerId="LiveId" clId="{CF6481B6-C025-4AC9-B98A-F2FC3DE900F1}" dt="2023-02-21T22:26:53.091" v="848" actId="27918"/>
        <pc:sldMkLst>
          <pc:docMk/>
          <pc:sldMk cId="3231157596" sldId="257"/>
        </pc:sldMkLst>
        <pc:graphicFrameChg chg="mod">
          <ac:chgData name="Roberto Gallardo" userId="49a044883f185952" providerId="LiveId" clId="{CF6481B6-C025-4AC9-B98A-F2FC3DE900F1}" dt="2023-02-08T00:14:21.105" v="100" actId="14100"/>
          <ac:graphicFrameMkLst>
            <pc:docMk/>
            <pc:sldMk cId="3231157596" sldId="257"/>
            <ac:graphicFrameMk id="7" creationId="{9B61CC2F-17D9-E6A9-D1A8-11B47E6F047B}"/>
          </ac:graphicFrameMkLst>
        </pc:graphicFrameChg>
      </pc:sldChg>
      <pc:sldChg chg="modSp mod">
        <pc:chgData name="Roberto Gallardo" userId="49a044883f185952" providerId="LiveId" clId="{CF6481B6-C025-4AC9-B98A-F2FC3DE900F1}" dt="2023-02-21T22:23:55.441" v="825" actId="27918"/>
        <pc:sldMkLst>
          <pc:docMk/>
          <pc:sldMk cId="3702837515" sldId="258"/>
        </pc:sldMkLst>
        <pc:graphicFrameChg chg="mod">
          <ac:chgData name="Roberto Gallardo" userId="49a044883f185952" providerId="LiveId" clId="{CF6481B6-C025-4AC9-B98A-F2FC3DE900F1}" dt="2023-02-08T00:39:21.981" v="260"/>
          <ac:graphicFrameMkLst>
            <pc:docMk/>
            <pc:sldMk cId="3702837515" sldId="258"/>
            <ac:graphicFrameMk id="9" creationId="{A966EEC7-83EF-771C-E559-BAB55F5A621C}"/>
          </ac:graphicFrameMkLst>
        </pc:graphicFrameChg>
      </pc:sldChg>
      <pc:sldChg chg="modSp mod">
        <pc:chgData name="Roberto Gallardo" userId="49a044883f185952" providerId="LiveId" clId="{CF6481B6-C025-4AC9-B98A-F2FC3DE900F1}" dt="2023-02-21T22:20:55.646" v="794" actId="27918"/>
        <pc:sldMkLst>
          <pc:docMk/>
          <pc:sldMk cId="2519083202" sldId="259"/>
        </pc:sldMkLst>
        <pc:graphicFrameChg chg="mod">
          <ac:chgData name="Roberto Gallardo" userId="49a044883f185952" providerId="LiveId" clId="{CF6481B6-C025-4AC9-B98A-F2FC3DE900F1}" dt="2023-02-08T00:12:03.987" v="87" actId="255"/>
          <ac:graphicFrameMkLst>
            <pc:docMk/>
            <pc:sldMk cId="2519083202" sldId="259"/>
            <ac:graphicFrameMk id="9" creationId="{BF6DEC76-8E72-6168-70C1-6709AC56F21B}"/>
          </ac:graphicFrameMkLst>
        </pc:graphicFrameChg>
      </pc:sldChg>
      <pc:sldChg chg="modSp mod">
        <pc:chgData name="Roberto Gallardo" userId="49a044883f185952" providerId="LiveId" clId="{CF6481B6-C025-4AC9-B98A-F2FC3DE900F1}" dt="2023-02-21T22:17:06.627" v="769" actId="27918"/>
        <pc:sldMkLst>
          <pc:docMk/>
          <pc:sldMk cId="3877078759" sldId="260"/>
        </pc:sldMkLst>
        <pc:spChg chg="mod">
          <ac:chgData name="Roberto Gallardo" userId="49a044883f185952" providerId="LiveId" clId="{CF6481B6-C025-4AC9-B98A-F2FC3DE900F1}" dt="2023-02-08T00:10:17.265" v="70" actId="1036"/>
          <ac:spMkLst>
            <pc:docMk/>
            <pc:sldMk cId="3877078759" sldId="260"/>
            <ac:spMk id="8" creationId="{40AF43CC-DD34-B66D-2100-C70E6AB3ED53}"/>
          </ac:spMkLst>
        </pc:spChg>
        <pc:graphicFrameChg chg="mod">
          <ac:chgData name="Roberto Gallardo" userId="49a044883f185952" providerId="LiveId" clId="{CF6481B6-C025-4AC9-B98A-F2FC3DE900F1}" dt="2023-02-08T00:10:23.167" v="71" actId="14100"/>
          <ac:graphicFrameMkLst>
            <pc:docMk/>
            <pc:sldMk cId="3877078759" sldId="260"/>
            <ac:graphicFrameMk id="7" creationId="{9B61CC2F-17D9-E6A9-D1A8-11B47E6F047B}"/>
          </ac:graphicFrameMkLst>
        </pc:graphicFrameChg>
      </pc:sldChg>
      <pc:sldChg chg="addSp delSp modSp mod">
        <pc:chgData name="Roberto Gallardo" userId="49a044883f185952" providerId="LiveId" clId="{CF6481B6-C025-4AC9-B98A-F2FC3DE900F1}" dt="2023-02-21T22:48:58.608" v="940" actId="27918"/>
        <pc:sldMkLst>
          <pc:docMk/>
          <pc:sldMk cId="1175010214" sldId="261"/>
        </pc:sldMkLst>
        <pc:graphicFrameChg chg="add mod">
          <ac:chgData name="Roberto Gallardo" userId="49a044883f185952" providerId="LiveId" clId="{CF6481B6-C025-4AC9-B98A-F2FC3DE900F1}" dt="2023-02-08T00:23:53.788" v="164" actId="207"/>
          <ac:graphicFrameMkLst>
            <pc:docMk/>
            <pc:sldMk cId="1175010214" sldId="261"/>
            <ac:graphicFrameMk id="3" creationId="{A8DE9692-3D4F-CD54-3B99-1AD8CB1A1E28}"/>
          </ac:graphicFrameMkLst>
        </pc:graphicFrameChg>
        <pc:graphicFrameChg chg="del mod">
          <ac:chgData name="Roberto Gallardo" userId="49a044883f185952" providerId="LiveId" clId="{CF6481B6-C025-4AC9-B98A-F2FC3DE900F1}" dt="2023-02-08T00:21:59.427" v="145" actId="478"/>
          <ac:graphicFrameMkLst>
            <pc:docMk/>
            <pc:sldMk cId="1175010214" sldId="261"/>
            <ac:graphicFrameMk id="10" creationId="{FD2FC231-ACEF-5FF2-C4CE-DFF89EB85588}"/>
          </ac:graphicFrameMkLst>
        </pc:graphicFrameChg>
      </pc:sldChg>
      <pc:sldChg chg="addSp delSp modSp mod">
        <pc:chgData name="Roberto Gallardo" userId="49a044883f185952" providerId="LiveId" clId="{CF6481B6-C025-4AC9-B98A-F2FC3DE900F1}" dt="2023-02-08T00:26:48.222" v="186" actId="1076"/>
        <pc:sldMkLst>
          <pc:docMk/>
          <pc:sldMk cId="1418533539" sldId="271"/>
        </pc:sldMkLst>
        <pc:picChg chg="del">
          <ac:chgData name="Roberto Gallardo" userId="49a044883f185952" providerId="LiveId" clId="{CF6481B6-C025-4AC9-B98A-F2FC3DE900F1}" dt="2023-02-08T00:25:49.882" v="177" actId="478"/>
          <ac:picMkLst>
            <pc:docMk/>
            <pc:sldMk cId="1418533539" sldId="271"/>
            <ac:picMk id="6" creationId="{F62F9F21-8480-5879-42D5-5F985FBE8402}"/>
          </ac:picMkLst>
        </pc:picChg>
        <pc:picChg chg="add mod">
          <ac:chgData name="Roberto Gallardo" userId="49a044883f185952" providerId="LiveId" clId="{CF6481B6-C025-4AC9-B98A-F2FC3DE900F1}" dt="2023-02-08T00:26:48.222" v="186" actId="1076"/>
          <ac:picMkLst>
            <pc:docMk/>
            <pc:sldMk cId="1418533539" sldId="271"/>
            <ac:picMk id="7" creationId="{13446D6B-D227-67D0-3073-C060BF75D5BF}"/>
          </ac:picMkLst>
        </pc:picChg>
      </pc:sldChg>
      <pc:sldChg chg="addSp delSp modSp mod">
        <pc:chgData name="Roberto Gallardo" userId="49a044883f185952" providerId="LiveId" clId="{CF6481B6-C025-4AC9-B98A-F2FC3DE900F1}" dt="2023-02-21T22:30:55.839" v="871" actId="27918"/>
        <pc:sldMkLst>
          <pc:docMk/>
          <pc:sldMk cId="2653937722" sldId="272"/>
        </pc:sldMkLst>
        <pc:graphicFrameChg chg="add mod">
          <ac:chgData name="Roberto Gallardo" userId="49a044883f185952" providerId="LiveId" clId="{CF6481B6-C025-4AC9-B98A-F2FC3DE900F1}" dt="2023-02-08T00:16:05.100" v="112" actId="1957"/>
          <ac:graphicFrameMkLst>
            <pc:docMk/>
            <pc:sldMk cId="2653937722" sldId="272"/>
            <ac:graphicFrameMk id="3" creationId="{FB02C378-1345-7768-FD90-CB4B9AF6F805}"/>
          </ac:graphicFrameMkLst>
        </pc:graphicFrameChg>
        <pc:graphicFrameChg chg="del mod">
          <ac:chgData name="Roberto Gallardo" userId="49a044883f185952" providerId="LiveId" clId="{CF6481B6-C025-4AC9-B98A-F2FC3DE900F1}" dt="2023-02-08T00:15:42.481" v="110" actId="478"/>
          <ac:graphicFrameMkLst>
            <pc:docMk/>
            <pc:sldMk cId="2653937722" sldId="272"/>
            <ac:graphicFrameMk id="10" creationId="{FD2FC231-ACEF-5FF2-C4CE-DFF89EB85588}"/>
          </ac:graphicFrameMkLst>
        </pc:graphicFrameChg>
      </pc:sldChg>
      <pc:sldChg chg="addSp delSp modSp mod">
        <pc:chgData name="Roberto Gallardo" userId="49a044883f185952" providerId="LiveId" clId="{CF6481B6-C025-4AC9-B98A-F2FC3DE900F1}" dt="2023-02-22T00:24:50.688" v="1355" actId="27918"/>
        <pc:sldMkLst>
          <pc:docMk/>
          <pc:sldMk cId="2076698419" sldId="273"/>
        </pc:sldMkLst>
        <pc:spChg chg="mod">
          <ac:chgData name="Roberto Gallardo" userId="49a044883f185952" providerId="LiveId" clId="{CF6481B6-C025-4AC9-B98A-F2FC3DE900F1}" dt="2023-02-08T01:09:33.006" v="634" actId="20577"/>
          <ac:spMkLst>
            <pc:docMk/>
            <pc:sldMk cId="2076698419" sldId="273"/>
            <ac:spMk id="2" creationId="{C03B1400-5F72-D252-1DBE-EDCD6E63B07C}"/>
          </ac:spMkLst>
        </pc:spChg>
        <pc:graphicFrameChg chg="add mod">
          <ac:chgData name="Roberto Gallardo" userId="49a044883f185952" providerId="LiveId" clId="{CF6481B6-C025-4AC9-B98A-F2FC3DE900F1}" dt="2023-02-08T01:09:24.222" v="626" actId="207"/>
          <ac:graphicFrameMkLst>
            <pc:docMk/>
            <pc:sldMk cId="2076698419" sldId="273"/>
            <ac:graphicFrameMk id="6" creationId="{73DA3ED7-7C06-B290-5610-59C61C9AD194}"/>
          </ac:graphicFrameMkLst>
        </pc:graphicFrameChg>
        <pc:graphicFrameChg chg="del">
          <ac:chgData name="Roberto Gallardo" userId="49a044883f185952" providerId="LiveId" clId="{CF6481B6-C025-4AC9-B98A-F2FC3DE900F1}" dt="2023-02-08T01:06:43.017" v="594" actId="478"/>
          <ac:graphicFrameMkLst>
            <pc:docMk/>
            <pc:sldMk cId="2076698419" sldId="273"/>
            <ac:graphicFrameMk id="10" creationId="{FD2FC231-ACEF-5FF2-C4CE-DFF89EB85588}"/>
          </ac:graphicFrameMkLst>
        </pc:graphicFrameChg>
      </pc:sldChg>
      <pc:sldChg chg="modSp mod">
        <pc:chgData name="Roberto Gallardo" userId="49a044883f185952" providerId="LiveId" clId="{CF6481B6-C025-4AC9-B98A-F2FC3DE900F1}" dt="2023-02-22T00:34:06.371" v="1420" actId="27918"/>
        <pc:sldMkLst>
          <pc:docMk/>
          <pc:sldMk cId="3802335161" sldId="274"/>
        </pc:sldMkLst>
        <pc:spChg chg="mod">
          <ac:chgData name="Roberto Gallardo" userId="49a044883f185952" providerId="LiveId" clId="{CF6481B6-C025-4AC9-B98A-F2FC3DE900F1}" dt="2023-02-08T01:04:02.014" v="570" actId="20577"/>
          <ac:spMkLst>
            <pc:docMk/>
            <pc:sldMk cId="3802335161" sldId="274"/>
            <ac:spMk id="2" creationId="{C03B1400-5F72-D252-1DBE-EDCD6E63B07C}"/>
          </ac:spMkLst>
        </pc:spChg>
        <pc:graphicFrameChg chg="mod">
          <ac:chgData name="Roberto Gallardo" userId="49a044883f185952" providerId="LiveId" clId="{CF6481B6-C025-4AC9-B98A-F2FC3DE900F1}" dt="2023-02-08T01:06:08.801" v="593" actId="255"/>
          <ac:graphicFrameMkLst>
            <pc:docMk/>
            <pc:sldMk cId="3802335161" sldId="274"/>
            <ac:graphicFrameMk id="10" creationId="{FD2FC231-ACEF-5FF2-C4CE-DFF89EB85588}"/>
          </ac:graphicFrameMkLst>
        </pc:graphicFrameChg>
      </pc:sldChg>
      <pc:sldChg chg="modSp mod">
        <pc:chgData name="Roberto Gallardo" userId="49a044883f185952" providerId="LiveId" clId="{CF6481B6-C025-4AC9-B98A-F2FC3DE900F1}" dt="2023-02-22T00:35:48.880" v="1443" actId="27918"/>
        <pc:sldMkLst>
          <pc:docMk/>
          <pc:sldMk cId="4292554322" sldId="275"/>
        </pc:sldMkLst>
        <pc:graphicFrameChg chg="mod">
          <ac:chgData name="Roberto Gallardo" userId="49a044883f185952" providerId="LiveId" clId="{CF6481B6-C025-4AC9-B98A-F2FC3DE900F1}" dt="2023-02-08T01:05:48.510" v="592" actId="255"/>
          <ac:graphicFrameMkLst>
            <pc:docMk/>
            <pc:sldMk cId="4292554322" sldId="275"/>
            <ac:graphicFrameMk id="10" creationId="{FD2FC231-ACEF-5FF2-C4CE-DFF89EB85588}"/>
          </ac:graphicFrameMkLst>
        </pc:graphicFrameChg>
      </pc:sldChg>
      <pc:sldChg chg="addSp delSp modSp mod">
        <pc:chgData name="Roberto Gallardo" userId="49a044883f185952" providerId="LiveId" clId="{CF6481B6-C025-4AC9-B98A-F2FC3DE900F1}" dt="2023-02-22T00:26:51.294" v="1378" actId="27918"/>
        <pc:sldMkLst>
          <pc:docMk/>
          <pc:sldMk cId="513409896" sldId="276"/>
        </pc:sldMkLst>
        <pc:spChg chg="mod">
          <ac:chgData name="Roberto Gallardo" userId="49a044883f185952" providerId="LiveId" clId="{CF6481B6-C025-4AC9-B98A-F2FC3DE900F1}" dt="2023-02-08T01:09:56.673" v="657" actId="1035"/>
          <ac:spMkLst>
            <pc:docMk/>
            <pc:sldMk cId="513409896" sldId="276"/>
            <ac:spMk id="2" creationId="{C03B1400-5F72-D252-1DBE-EDCD6E63B07C}"/>
          </ac:spMkLst>
        </pc:spChg>
        <pc:spChg chg="del">
          <ac:chgData name="Roberto Gallardo" userId="49a044883f185952" providerId="LiveId" clId="{CF6481B6-C025-4AC9-B98A-F2FC3DE900F1}" dt="2023-02-08T01:10:51.618" v="666" actId="478"/>
          <ac:spMkLst>
            <pc:docMk/>
            <pc:sldMk cId="513409896" sldId="276"/>
            <ac:spMk id="9" creationId="{EB4CC4F6-2F6B-8AF9-8151-CB2C0FF4BAC4}"/>
          </ac:spMkLst>
        </pc:spChg>
        <pc:spChg chg="del">
          <ac:chgData name="Roberto Gallardo" userId="49a044883f185952" providerId="LiveId" clId="{CF6481B6-C025-4AC9-B98A-F2FC3DE900F1}" dt="2023-02-08T01:10:58.515" v="667" actId="478"/>
          <ac:spMkLst>
            <pc:docMk/>
            <pc:sldMk cId="513409896" sldId="276"/>
            <ac:spMk id="16" creationId="{420A225E-A640-906C-A470-552759842A43}"/>
          </ac:spMkLst>
        </pc:spChg>
        <pc:spChg chg="add del">
          <ac:chgData name="Roberto Gallardo" userId="49a044883f185952" providerId="LiveId" clId="{CF6481B6-C025-4AC9-B98A-F2FC3DE900F1}" dt="2023-02-08T01:12:53.151" v="691" actId="478"/>
          <ac:spMkLst>
            <pc:docMk/>
            <pc:sldMk cId="513409896" sldId="276"/>
            <ac:spMk id="21" creationId="{9A68ADBE-AECC-EE60-7E94-3675B33E08AE}"/>
          </ac:spMkLst>
        </pc:spChg>
        <pc:graphicFrameChg chg="add del mod ord">
          <ac:chgData name="Roberto Gallardo" userId="49a044883f185952" providerId="LiveId" clId="{CF6481B6-C025-4AC9-B98A-F2FC3DE900F1}" dt="2023-02-08T01:13:45.643" v="703" actId="478"/>
          <ac:graphicFrameMkLst>
            <pc:docMk/>
            <pc:sldMk cId="513409896" sldId="276"/>
            <ac:graphicFrameMk id="8" creationId="{65CEFE8F-F876-4883-E646-DE446483B7AB}"/>
          </ac:graphicFrameMkLst>
        </pc:graphicFrameChg>
        <pc:graphicFrameChg chg="del">
          <ac:chgData name="Roberto Gallardo" userId="49a044883f185952" providerId="LiveId" clId="{CF6481B6-C025-4AC9-B98A-F2FC3DE900F1}" dt="2023-02-08T01:10:01.966" v="658" actId="478"/>
          <ac:graphicFrameMkLst>
            <pc:docMk/>
            <pc:sldMk cId="513409896" sldId="276"/>
            <ac:graphicFrameMk id="10" creationId="{FD2FC231-ACEF-5FF2-C4CE-DFF89EB85588}"/>
          </ac:graphicFrameMkLst>
        </pc:graphicFrameChg>
        <pc:graphicFrameChg chg="add mod">
          <ac:chgData name="Roberto Gallardo" userId="49a044883f185952" providerId="LiveId" clId="{CF6481B6-C025-4AC9-B98A-F2FC3DE900F1}" dt="2023-02-08T01:16:26.075" v="729" actId="14100"/>
          <ac:graphicFrameMkLst>
            <pc:docMk/>
            <pc:sldMk cId="513409896" sldId="276"/>
            <ac:graphicFrameMk id="27" creationId="{35001F71-6C2C-C1B7-1E02-6FB761956FA2}"/>
          </ac:graphicFrameMkLst>
        </pc:graphicFrameChg>
        <pc:cxnChg chg="del">
          <ac:chgData name="Roberto Gallardo" userId="49a044883f185952" providerId="LiveId" clId="{CF6481B6-C025-4AC9-B98A-F2FC3DE900F1}" dt="2023-02-08T01:10:51.618" v="666" actId="478"/>
          <ac:cxnSpMkLst>
            <pc:docMk/>
            <pc:sldMk cId="513409896" sldId="276"/>
            <ac:cxnSpMk id="12" creationId="{CFFB1630-BD90-A400-670C-BA42A969CC53}"/>
          </ac:cxnSpMkLst>
        </pc:cxnChg>
        <pc:cxnChg chg="del">
          <ac:chgData name="Roberto Gallardo" userId="49a044883f185952" providerId="LiveId" clId="{CF6481B6-C025-4AC9-B98A-F2FC3DE900F1}" dt="2023-02-08T01:10:51.618" v="666" actId="478"/>
          <ac:cxnSpMkLst>
            <pc:docMk/>
            <pc:sldMk cId="513409896" sldId="276"/>
            <ac:cxnSpMk id="13" creationId="{1D0B6E64-E4A0-FEB0-ABC4-B26C8EF7542E}"/>
          </ac:cxnSpMkLst>
        </pc:cxnChg>
        <pc:cxnChg chg="del">
          <ac:chgData name="Roberto Gallardo" userId="49a044883f185952" providerId="LiveId" clId="{CF6481B6-C025-4AC9-B98A-F2FC3DE900F1}" dt="2023-02-08T01:10:51.618" v="666" actId="478"/>
          <ac:cxnSpMkLst>
            <pc:docMk/>
            <pc:sldMk cId="513409896" sldId="276"/>
            <ac:cxnSpMk id="14" creationId="{15AB37BA-8065-3082-3040-FB8974BC0126}"/>
          </ac:cxnSpMkLst>
        </pc:cxnChg>
        <pc:cxnChg chg="del">
          <ac:chgData name="Roberto Gallardo" userId="49a044883f185952" providerId="LiveId" clId="{CF6481B6-C025-4AC9-B98A-F2FC3DE900F1}" dt="2023-02-08T01:10:51.618" v="666" actId="478"/>
          <ac:cxnSpMkLst>
            <pc:docMk/>
            <pc:sldMk cId="513409896" sldId="276"/>
            <ac:cxnSpMk id="15" creationId="{BCCCC111-CA7C-CAB0-EAC5-333D5A26296D}"/>
          </ac:cxnSpMkLst>
        </pc:cxnChg>
        <pc:cxnChg chg="del">
          <ac:chgData name="Roberto Gallardo" userId="49a044883f185952" providerId="LiveId" clId="{CF6481B6-C025-4AC9-B98A-F2FC3DE900F1}" dt="2023-02-08T01:10:58.515" v="667" actId="478"/>
          <ac:cxnSpMkLst>
            <pc:docMk/>
            <pc:sldMk cId="513409896" sldId="276"/>
            <ac:cxnSpMk id="17" creationId="{26BD209E-6819-82CB-9B59-E03611EAC1FC}"/>
          </ac:cxnSpMkLst>
        </pc:cxnChg>
        <pc:cxnChg chg="del">
          <ac:chgData name="Roberto Gallardo" userId="49a044883f185952" providerId="LiveId" clId="{CF6481B6-C025-4AC9-B98A-F2FC3DE900F1}" dt="2023-02-08T01:10:58.515" v="667" actId="478"/>
          <ac:cxnSpMkLst>
            <pc:docMk/>
            <pc:sldMk cId="513409896" sldId="276"/>
            <ac:cxnSpMk id="18" creationId="{F8736966-F272-CC1E-CA8B-886785B2B5EB}"/>
          </ac:cxnSpMkLst>
        </pc:cxnChg>
        <pc:cxnChg chg="del">
          <ac:chgData name="Roberto Gallardo" userId="49a044883f185952" providerId="LiveId" clId="{CF6481B6-C025-4AC9-B98A-F2FC3DE900F1}" dt="2023-02-08T01:10:58.515" v="667" actId="478"/>
          <ac:cxnSpMkLst>
            <pc:docMk/>
            <pc:sldMk cId="513409896" sldId="276"/>
            <ac:cxnSpMk id="19" creationId="{310587E0-05D3-43D7-B764-184E1AB6C561}"/>
          </ac:cxnSpMkLst>
        </pc:cxnChg>
        <pc:cxnChg chg="del">
          <ac:chgData name="Roberto Gallardo" userId="49a044883f185952" providerId="LiveId" clId="{CF6481B6-C025-4AC9-B98A-F2FC3DE900F1}" dt="2023-02-08T01:10:58.515" v="667" actId="478"/>
          <ac:cxnSpMkLst>
            <pc:docMk/>
            <pc:sldMk cId="513409896" sldId="276"/>
            <ac:cxnSpMk id="20" creationId="{4FC1B3BE-8F7B-FCC3-C3CB-625A8A3E620F}"/>
          </ac:cxnSpMkLst>
        </pc:cxnChg>
        <pc:cxnChg chg="add del">
          <ac:chgData name="Roberto Gallardo" userId="49a044883f185952" providerId="LiveId" clId="{CF6481B6-C025-4AC9-B98A-F2FC3DE900F1}" dt="2023-02-08T01:12:53.151" v="691" actId="478"/>
          <ac:cxnSpMkLst>
            <pc:docMk/>
            <pc:sldMk cId="513409896" sldId="276"/>
            <ac:cxnSpMk id="22" creationId="{1B423FA0-E4B3-6570-929B-A9283D503787}"/>
          </ac:cxnSpMkLst>
        </pc:cxnChg>
        <pc:cxnChg chg="add del">
          <ac:chgData name="Roberto Gallardo" userId="49a044883f185952" providerId="LiveId" clId="{CF6481B6-C025-4AC9-B98A-F2FC3DE900F1}" dt="2023-02-08T01:12:53.151" v="691" actId="478"/>
          <ac:cxnSpMkLst>
            <pc:docMk/>
            <pc:sldMk cId="513409896" sldId="276"/>
            <ac:cxnSpMk id="23" creationId="{D616797E-0044-3804-BA5A-23B8EB309CA5}"/>
          </ac:cxnSpMkLst>
        </pc:cxnChg>
        <pc:cxnChg chg="add del">
          <ac:chgData name="Roberto Gallardo" userId="49a044883f185952" providerId="LiveId" clId="{CF6481B6-C025-4AC9-B98A-F2FC3DE900F1}" dt="2023-02-08T01:12:53.151" v="691" actId="478"/>
          <ac:cxnSpMkLst>
            <pc:docMk/>
            <pc:sldMk cId="513409896" sldId="276"/>
            <ac:cxnSpMk id="24" creationId="{20A6256E-6780-BAE0-B803-D02FE024579F}"/>
          </ac:cxnSpMkLst>
        </pc:cxnChg>
        <pc:cxnChg chg="add del">
          <ac:chgData name="Roberto Gallardo" userId="49a044883f185952" providerId="LiveId" clId="{CF6481B6-C025-4AC9-B98A-F2FC3DE900F1}" dt="2023-02-08T01:12:53.151" v="691" actId="478"/>
          <ac:cxnSpMkLst>
            <pc:docMk/>
            <pc:sldMk cId="513409896" sldId="276"/>
            <ac:cxnSpMk id="25" creationId="{62B7492E-2C75-E0CD-947E-C582F412F7D7}"/>
          </ac:cxnSpMkLst>
        </pc:cxnChg>
      </pc:sldChg>
      <pc:sldChg chg="modSp mod">
        <pc:chgData name="Roberto Gallardo" userId="49a044883f185952" providerId="LiveId" clId="{CF6481B6-C025-4AC9-B98A-F2FC3DE900F1}" dt="2023-02-22T00:20:45.096" v="1332" actId="27918"/>
        <pc:sldMkLst>
          <pc:docMk/>
          <pc:sldMk cId="349244952" sldId="278"/>
        </pc:sldMkLst>
        <pc:graphicFrameChg chg="mod">
          <ac:chgData name="Roberto Gallardo" userId="49a044883f185952" providerId="LiveId" clId="{CF6481B6-C025-4AC9-B98A-F2FC3DE900F1}" dt="2023-02-08T01:01:34.132" v="545" actId="255"/>
          <ac:graphicFrameMkLst>
            <pc:docMk/>
            <pc:sldMk cId="349244952" sldId="278"/>
            <ac:graphicFrameMk id="10" creationId="{FD2FC231-ACEF-5FF2-C4CE-DFF89EB85588}"/>
          </ac:graphicFrameMkLst>
        </pc:graphicFrameChg>
      </pc:sldChg>
      <pc:sldChg chg="addSp delSp modSp mod">
        <pc:chgData name="Roberto Gallardo" userId="49a044883f185952" providerId="LiveId" clId="{CF6481B6-C025-4AC9-B98A-F2FC3DE900F1}" dt="2023-02-21T23:33:42.977" v="1054" actId="27918"/>
        <pc:sldMkLst>
          <pc:docMk/>
          <pc:sldMk cId="2124848710" sldId="281"/>
        </pc:sldMkLst>
        <pc:picChg chg="del">
          <ac:chgData name="Roberto Gallardo" userId="49a044883f185952" providerId="LiveId" clId="{CF6481B6-C025-4AC9-B98A-F2FC3DE900F1}" dt="2023-02-08T00:39:37.698" v="261" actId="478"/>
          <ac:picMkLst>
            <pc:docMk/>
            <pc:sldMk cId="2124848710" sldId="281"/>
            <ac:picMk id="5" creationId="{A0949407-F65E-DBD8-37FA-DAF9B709C4A5}"/>
          </ac:picMkLst>
        </pc:picChg>
        <pc:picChg chg="add mod">
          <ac:chgData name="Roberto Gallardo" userId="49a044883f185952" providerId="LiveId" clId="{CF6481B6-C025-4AC9-B98A-F2FC3DE900F1}" dt="2023-02-08T00:42:08.098" v="289" actId="1076"/>
          <ac:picMkLst>
            <pc:docMk/>
            <pc:sldMk cId="2124848710" sldId="281"/>
            <ac:picMk id="8" creationId="{6FE83F36-0238-364D-DA5E-68C3B59F55E6}"/>
          </ac:picMkLst>
        </pc:picChg>
      </pc:sldChg>
      <pc:sldChg chg="addSp delSp modSp mod">
        <pc:chgData name="Roberto Gallardo" userId="49a044883f185952" providerId="LiveId" clId="{CF6481B6-C025-4AC9-B98A-F2FC3DE900F1}" dt="2023-02-21T23:37:11.638" v="1075" actId="27918"/>
        <pc:sldMkLst>
          <pc:docMk/>
          <pc:sldMk cId="2028175529" sldId="282"/>
        </pc:sldMkLst>
        <pc:picChg chg="del">
          <ac:chgData name="Roberto Gallardo" userId="49a044883f185952" providerId="LiveId" clId="{CF6481B6-C025-4AC9-B98A-F2FC3DE900F1}" dt="2023-02-08T00:42:21.010" v="290" actId="478"/>
          <ac:picMkLst>
            <pc:docMk/>
            <pc:sldMk cId="2028175529" sldId="282"/>
            <ac:picMk id="5" creationId="{475C80D9-EDDD-5480-F831-712110FB2C95}"/>
          </ac:picMkLst>
        </pc:picChg>
        <pc:picChg chg="add mod">
          <ac:chgData name="Roberto Gallardo" userId="49a044883f185952" providerId="LiveId" clId="{CF6481B6-C025-4AC9-B98A-F2FC3DE900F1}" dt="2023-02-08T00:43:53.236" v="310" actId="1076"/>
          <ac:picMkLst>
            <pc:docMk/>
            <pc:sldMk cId="2028175529" sldId="282"/>
            <ac:picMk id="8" creationId="{F85F44A3-4E14-75E8-18F9-65F0771F513A}"/>
          </ac:picMkLst>
        </pc:picChg>
      </pc:sldChg>
      <pc:sldChg chg="addSp delSp modSp mod">
        <pc:chgData name="Roberto Gallardo" userId="49a044883f185952" providerId="LiveId" clId="{CF6481B6-C025-4AC9-B98A-F2FC3DE900F1}" dt="2023-02-21T23:39:11.202" v="1096" actId="27918"/>
        <pc:sldMkLst>
          <pc:docMk/>
          <pc:sldMk cId="1326517747" sldId="283"/>
        </pc:sldMkLst>
        <pc:picChg chg="del">
          <ac:chgData name="Roberto Gallardo" userId="49a044883f185952" providerId="LiveId" clId="{CF6481B6-C025-4AC9-B98A-F2FC3DE900F1}" dt="2023-02-08T00:44:03.609" v="311" actId="478"/>
          <ac:picMkLst>
            <pc:docMk/>
            <pc:sldMk cId="1326517747" sldId="283"/>
            <ac:picMk id="5" creationId="{F8975853-83FE-ACB3-00B5-94FC8D528009}"/>
          </ac:picMkLst>
        </pc:picChg>
        <pc:picChg chg="add mod">
          <ac:chgData name="Roberto Gallardo" userId="49a044883f185952" providerId="LiveId" clId="{CF6481B6-C025-4AC9-B98A-F2FC3DE900F1}" dt="2023-02-08T00:46:06.615" v="342" actId="1037"/>
          <ac:picMkLst>
            <pc:docMk/>
            <pc:sldMk cId="1326517747" sldId="283"/>
            <ac:picMk id="8" creationId="{23477BA7-CFA0-43E1-FAEB-910B043C6AEF}"/>
          </ac:picMkLst>
        </pc:picChg>
      </pc:sldChg>
      <pc:sldChg chg="addSp delSp modSp mod">
        <pc:chgData name="Roberto Gallardo" userId="49a044883f185952" providerId="LiveId" clId="{CF6481B6-C025-4AC9-B98A-F2FC3DE900F1}" dt="2023-02-21T23:40:43.994" v="1117" actId="27918"/>
        <pc:sldMkLst>
          <pc:docMk/>
          <pc:sldMk cId="783739251" sldId="284"/>
        </pc:sldMkLst>
        <pc:picChg chg="del">
          <ac:chgData name="Roberto Gallardo" userId="49a044883f185952" providerId="LiveId" clId="{CF6481B6-C025-4AC9-B98A-F2FC3DE900F1}" dt="2023-02-08T00:46:51.094" v="343" actId="478"/>
          <ac:picMkLst>
            <pc:docMk/>
            <pc:sldMk cId="783739251" sldId="284"/>
            <ac:picMk id="5" creationId="{8D434528-539D-C97C-ECEE-B126BEE65F79}"/>
          </ac:picMkLst>
        </pc:picChg>
        <pc:picChg chg="add mod">
          <ac:chgData name="Roberto Gallardo" userId="49a044883f185952" providerId="LiveId" clId="{CF6481B6-C025-4AC9-B98A-F2FC3DE900F1}" dt="2023-02-08T00:48:12.945" v="363" actId="1037"/>
          <ac:picMkLst>
            <pc:docMk/>
            <pc:sldMk cId="783739251" sldId="284"/>
            <ac:picMk id="8" creationId="{DECEEA7B-DF84-CA47-9B3A-40DE9DB0FDF6}"/>
          </ac:picMkLst>
        </pc:picChg>
      </pc:sldChg>
      <pc:sldChg chg="addSp delSp modSp mod">
        <pc:chgData name="Roberto Gallardo" userId="49a044883f185952" providerId="LiveId" clId="{CF6481B6-C025-4AC9-B98A-F2FC3DE900F1}" dt="2023-02-21T23:42:26.837" v="1138" actId="27918"/>
        <pc:sldMkLst>
          <pc:docMk/>
          <pc:sldMk cId="1676122233" sldId="285"/>
        </pc:sldMkLst>
        <pc:picChg chg="del">
          <ac:chgData name="Roberto Gallardo" userId="49a044883f185952" providerId="LiveId" clId="{CF6481B6-C025-4AC9-B98A-F2FC3DE900F1}" dt="2023-02-08T00:48:20.329" v="364" actId="478"/>
          <ac:picMkLst>
            <pc:docMk/>
            <pc:sldMk cId="1676122233" sldId="285"/>
            <ac:picMk id="5" creationId="{B4502745-FB5D-7513-0F17-9B2D3489D7FB}"/>
          </ac:picMkLst>
        </pc:picChg>
        <pc:picChg chg="add mod">
          <ac:chgData name="Roberto Gallardo" userId="49a044883f185952" providerId="LiveId" clId="{CF6481B6-C025-4AC9-B98A-F2FC3DE900F1}" dt="2023-02-08T00:49:54.708" v="382" actId="1076"/>
          <ac:picMkLst>
            <pc:docMk/>
            <pc:sldMk cId="1676122233" sldId="285"/>
            <ac:picMk id="8" creationId="{79CF5662-6CF8-0218-2CD4-73865E052C84}"/>
          </ac:picMkLst>
        </pc:picChg>
      </pc:sldChg>
      <pc:sldChg chg="addSp delSp modSp mod">
        <pc:chgData name="Roberto Gallardo" userId="49a044883f185952" providerId="LiveId" clId="{CF6481B6-C025-4AC9-B98A-F2FC3DE900F1}" dt="2023-02-21T23:44:52.870" v="1159" actId="27918"/>
        <pc:sldMkLst>
          <pc:docMk/>
          <pc:sldMk cId="3100398757" sldId="286"/>
        </pc:sldMkLst>
        <pc:picChg chg="del">
          <ac:chgData name="Roberto Gallardo" userId="49a044883f185952" providerId="LiveId" clId="{CF6481B6-C025-4AC9-B98A-F2FC3DE900F1}" dt="2023-02-08T00:50:03.306" v="383" actId="478"/>
          <ac:picMkLst>
            <pc:docMk/>
            <pc:sldMk cId="3100398757" sldId="286"/>
            <ac:picMk id="5" creationId="{1028A14C-4417-44AF-ACA8-F61BBECD1425}"/>
          </ac:picMkLst>
        </pc:picChg>
        <pc:picChg chg="add mod">
          <ac:chgData name="Roberto Gallardo" userId="49a044883f185952" providerId="LiveId" clId="{CF6481B6-C025-4AC9-B98A-F2FC3DE900F1}" dt="2023-02-08T00:50:58.715" v="399" actId="1076"/>
          <ac:picMkLst>
            <pc:docMk/>
            <pc:sldMk cId="3100398757" sldId="286"/>
            <ac:picMk id="8" creationId="{11CDF7D3-ABB8-4BDF-CEE1-5F5A6018AA0C}"/>
          </ac:picMkLst>
        </pc:picChg>
      </pc:sldChg>
      <pc:sldChg chg="addSp delSp modSp mod">
        <pc:chgData name="Roberto Gallardo" userId="49a044883f185952" providerId="LiveId" clId="{CF6481B6-C025-4AC9-B98A-F2FC3DE900F1}" dt="2023-02-21T23:47:16.575" v="1180" actId="27918"/>
        <pc:sldMkLst>
          <pc:docMk/>
          <pc:sldMk cId="1546475425" sldId="287"/>
        </pc:sldMkLst>
        <pc:picChg chg="del">
          <ac:chgData name="Roberto Gallardo" userId="49a044883f185952" providerId="LiveId" clId="{CF6481B6-C025-4AC9-B98A-F2FC3DE900F1}" dt="2023-02-08T00:51:11.360" v="400" actId="478"/>
          <ac:picMkLst>
            <pc:docMk/>
            <pc:sldMk cId="1546475425" sldId="287"/>
            <ac:picMk id="5" creationId="{C5E1E78C-2FDB-681C-1389-1E235E3F9502}"/>
          </ac:picMkLst>
        </pc:picChg>
        <pc:picChg chg="add mod">
          <ac:chgData name="Roberto Gallardo" userId="49a044883f185952" providerId="LiveId" clId="{CF6481B6-C025-4AC9-B98A-F2FC3DE900F1}" dt="2023-02-08T00:52:02.496" v="416" actId="1076"/>
          <ac:picMkLst>
            <pc:docMk/>
            <pc:sldMk cId="1546475425" sldId="287"/>
            <ac:picMk id="8" creationId="{D496B6AD-F9CA-902D-7B35-1CA19243B5FB}"/>
          </ac:picMkLst>
        </pc:picChg>
      </pc:sldChg>
      <pc:sldChg chg="addSp delSp modSp mod">
        <pc:chgData name="Roberto Gallardo" userId="49a044883f185952" providerId="LiveId" clId="{CF6481B6-C025-4AC9-B98A-F2FC3DE900F1}" dt="2023-02-22T00:37:19.919" v="1464" actId="27918"/>
        <pc:sldMkLst>
          <pc:docMk/>
          <pc:sldMk cId="1380517306" sldId="288"/>
        </pc:sldMkLst>
        <pc:picChg chg="del">
          <ac:chgData name="Roberto Gallardo" userId="49a044883f185952" providerId="LiveId" clId="{CF6481B6-C025-4AC9-B98A-F2FC3DE900F1}" dt="2023-02-08T00:53:36.197" v="436" actId="478"/>
          <ac:picMkLst>
            <pc:docMk/>
            <pc:sldMk cId="1380517306" sldId="288"/>
            <ac:picMk id="5" creationId="{7ED21A6B-473E-9465-383A-3921B8C23BE3}"/>
          </ac:picMkLst>
        </pc:picChg>
        <pc:picChg chg="add mod">
          <ac:chgData name="Roberto Gallardo" userId="49a044883f185952" providerId="LiveId" clId="{CF6481B6-C025-4AC9-B98A-F2FC3DE900F1}" dt="2023-02-08T00:54:49.927" v="459" actId="1076"/>
          <ac:picMkLst>
            <pc:docMk/>
            <pc:sldMk cId="1380517306" sldId="288"/>
            <ac:picMk id="8" creationId="{CA78C345-9753-28B4-694D-B9F90B1A2F3E}"/>
          </ac:picMkLst>
        </pc:picChg>
      </pc:sldChg>
      <pc:sldChg chg="addSp delSp modSp mod">
        <pc:chgData name="Roberto Gallardo" userId="49a044883f185952" providerId="LiveId" clId="{CF6481B6-C025-4AC9-B98A-F2FC3DE900F1}" dt="2023-02-22T00:01:03.462" v="1245" actId="27918"/>
        <pc:sldMkLst>
          <pc:docMk/>
          <pc:sldMk cId="1388671151" sldId="289"/>
        </pc:sldMkLst>
        <pc:picChg chg="del">
          <ac:chgData name="Roberto Gallardo" userId="49a044883f185952" providerId="LiveId" clId="{CF6481B6-C025-4AC9-B98A-F2FC3DE900F1}" dt="2023-02-08T00:53:40.193" v="437" actId="478"/>
          <ac:picMkLst>
            <pc:docMk/>
            <pc:sldMk cId="1388671151" sldId="289"/>
            <ac:picMk id="5" creationId="{7FF4B99B-DBD3-B8AA-E947-1A0DA9584571}"/>
          </ac:picMkLst>
        </pc:picChg>
        <pc:picChg chg="add mod">
          <ac:chgData name="Roberto Gallardo" userId="49a044883f185952" providerId="LiveId" clId="{CF6481B6-C025-4AC9-B98A-F2FC3DE900F1}" dt="2023-02-08T00:55:57.416" v="475" actId="1076"/>
          <ac:picMkLst>
            <pc:docMk/>
            <pc:sldMk cId="1388671151" sldId="289"/>
            <ac:picMk id="8" creationId="{DE06FEA7-B05D-E196-0589-B7E826D284C9}"/>
          </ac:picMkLst>
        </pc:picChg>
      </pc:sldChg>
      <pc:sldChg chg="addSp delSp modSp mod">
        <pc:chgData name="Roberto Gallardo" userId="49a044883f185952" providerId="LiveId" clId="{CF6481B6-C025-4AC9-B98A-F2FC3DE900F1}" dt="2023-02-22T00:10:05.580" v="1287" actId="27918"/>
        <pc:sldMkLst>
          <pc:docMk/>
          <pc:sldMk cId="2355376039" sldId="290"/>
        </pc:sldMkLst>
        <pc:picChg chg="del">
          <ac:chgData name="Roberto Gallardo" userId="49a044883f185952" providerId="LiveId" clId="{CF6481B6-C025-4AC9-B98A-F2FC3DE900F1}" dt="2023-02-08T00:53:45.386" v="439" actId="478"/>
          <ac:picMkLst>
            <pc:docMk/>
            <pc:sldMk cId="2355376039" sldId="290"/>
            <ac:picMk id="8" creationId="{CED1A025-A5E6-E98F-C378-8111305D32B8}"/>
          </ac:picMkLst>
        </pc:picChg>
        <pc:picChg chg="add mod">
          <ac:chgData name="Roberto Gallardo" userId="49a044883f185952" providerId="LiveId" clId="{CF6481B6-C025-4AC9-B98A-F2FC3DE900F1}" dt="2023-02-08T00:58:07.701" v="505" actId="1076"/>
          <ac:picMkLst>
            <pc:docMk/>
            <pc:sldMk cId="2355376039" sldId="290"/>
            <ac:picMk id="9" creationId="{43FAF79B-30F1-9137-E759-D96AA5A3D3FE}"/>
          </ac:picMkLst>
        </pc:picChg>
      </pc:sldChg>
      <pc:sldChg chg="addSp delSp modSp mod">
        <pc:chgData name="Roberto Gallardo" userId="49a044883f185952" providerId="LiveId" clId="{CF6481B6-C025-4AC9-B98A-F2FC3DE900F1}" dt="2023-02-22T00:14:49.824" v="1309" actId="27918"/>
        <pc:sldMkLst>
          <pc:docMk/>
          <pc:sldMk cId="3757257295" sldId="291"/>
        </pc:sldMkLst>
        <pc:graphicFrameChg chg="mod">
          <ac:chgData name="Roberto Gallardo" userId="49a044883f185952" providerId="LiveId" clId="{CF6481B6-C025-4AC9-B98A-F2FC3DE900F1}" dt="2023-02-08T01:01:01.587" v="543"/>
          <ac:graphicFrameMkLst>
            <pc:docMk/>
            <pc:sldMk cId="3757257295" sldId="291"/>
            <ac:graphicFrameMk id="6" creationId="{CE45C3AF-C253-DC6A-54C2-FE3F8F710345}"/>
          </ac:graphicFrameMkLst>
        </pc:graphicFrameChg>
        <pc:picChg chg="del">
          <ac:chgData name="Roberto Gallardo" userId="49a044883f185952" providerId="LiveId" clId="{CF6481B6-C025-4AC9-B98A-F2FC3DE900F1}" dt="2023-02-08T00:53:48.281" v="440" actId="478"/>
          <ac:picMkLst>
            <pc:docMk/>
            <pc:sldMk cId="3757257295" sldId="291"/>
            <ac:picMk id="7" creationId="{74117F0B-2469-95E4-7E0C-A1F0CA70CD25}"/>
          </ac:picMkLst>
        </pc:picChg>
        <pc:picChg chg="add mod">
          <ac:chgData name="Roberto Gallardo" userId="49a044883f185952" providerId="LiveId" clId="{CF6481B6-C025-4AC9-B98A-F2FC3DE900F1}" dt="2023-02-08T00:59:16.612" v="525" actId="1076"/>
          <ac:picMkLst>
            <pc:docMk/>
            <pc:sldMk cId="3757257295" sldId="291"/>
            <ac:picMk id="8" creationId="{5C2D73F5-F9DF-BC74-9553-1866539E4E56}"/>
          </ac:picMkLst>
        </pc:picChg>
      </pc:sldChg>
      <pc:sldChg chg="addSp delSp modSp mod">
        <pc:chgData name="Roberto Gallardo" userId="49a044883f185952" providerId="LiveId" clId="{CF6481B6-C025-4AC9-B98A-F2FC3DE900F1}" dt="2023-02-21T23:48:33.061" v="1201" actId="27918"/>
        <pc:sldMkLst>
          <pc:docMk/>
          <pc:sldMk cId="1259856727" sldId="292"/>
        </pc:sldMkLst>
        <pc:picChg chg="del">
          <ac:chgData name="Roberto Gallardo" userId="49a044883f185952" providerId="LiveId" clId="{CF6481B6-C025-4AC9-B98A-F2FC3DE900F1}" dt="2023-02-08T00:52:16.721" v="417" actId="478"/>
          <ac:picMkLst>
            <pc:docMk/>
            <pc:sldMk cId="1259856727" sldId="292"/>
            <ac:picMk id="5" creationId="{28BDC168-7160-3C58-F722-AB78B3D0BD3C}"/>
          </ac:picMkLst>
        </pc:picChg>
        <pc:picChg chg="add mod">
          <ac:chgData name="Roberto Gallardo" userId="49a044883f185952" providerId="LiveId" clId="{CF6481B6-C025-4AC9-B98A-F2FC3DE900F1}" dt="2023-02-08T00:53:21.436" v="435" actId="1076"/>
          <ac:picMkLst>
            <pc:docMk/>
            <pc:sldMk cId="1259856727" sldId="292"/>
            <ac:picMk id="8" creationId="{7B55554B-BEA1-B9A3-98B0-CE6F334DE44B}"/>
          </ac:picMkLst>
        </pc:picChg>
      </pc:sldChg>
      <pc:sldChg chg="addSp delSp modSp mod">
        <pc:chgData name="Roberto Gallardo" userId="49a044883f185952" providerId="LiveId" clId="{CF6481B6-C025-4AC9-B98A-F2FC3DE900F1}" dt="2023-02-21T23:29:41.140" v="1033" actId="27918"/>
        <pc:sldMkLst>
          <pc:docMk/>
          <pc:sldMk cId="3324519687" sldId="293"/>
        </pc:sldMkLst>
        <pc:picChg chg="del">
          <ac:chgData name="Roberto Gallardo" userId="49a044883f185952" providerId="LiveId" clId="{CF6481B6-C025-4AC9-B98A-F2FC3DE900F1}" dt="2023-02-08T00:36:32.237" v="243" actId="478"/>
          <ac:picMkLst>
            <pc:docMk/>
            <pc:sldMk cId="3324519687" sldId="293"/>
            <ac:picMk id="7" creationId="{01831CE0-3306-7644-F88B-5DEC70FB0C99}"/>
          </ac:picMkLst>
        </pc:picChg>
        <pc:picChg chg="add mod">
          <ac:chgData name="Roberto Gallardo" userId="49a044883f185952" providerId="LiveId" clId="{CF6481B6-C025-4AC9-B98A-F2FC3DE900F1}" dt="2023-02-08T00:37:36.587" v="259" actId="1076"/>
          <ac:picMkLst>
            <pc:docMk/>
            <pc:sldMk cId="3324519687" sldId="293"/>
            <ac:picMk id="9" creationId="{F667296C-CE90-A32A-0DB5-4437FD48B6AB}"/>
          </ac:picMkLst>
        </pc:picChg>
      </pc:sldChg>
      <pc:sldChg chg="addSp delSp modSp mod">
        <pc:chgData name="Roberto Gallardo" userId="49a044883f185952" providerId="LiveId" clId="{CF6481B6-C025-4AC9-B98A-F2FC3DE900F1}" dt="2023-02-21T23:25:45.711" v="990" actId="27918"/>
        <pc:sldMkLst>
          <pc:docMk/>
          <pc:sldMk cId="3256182630" sldId="295"/>
        </pc:sldMkLst>
        <pc:graphicFrameChg chg="mod">
          <ac:chgData name="Roberto Gallardo" userId="49a044883f185952" providerId="LiveId" clId="{CF6481B6-C025-4AC9-B98A-F2FC3DE900F1}" dt="2023-02-08T00:29:53.499" v="214" actId="14100"/>
          <ac:graphicFrameMkLst>
            <pc:docMk/>
            <pc:sldMk cId="3256182630" sldId="295"/>
            <ac:graphicFrameMk id="8" creationId="{D3B2E8D2-9CCD-964A-5CD5-9F743C3CE109}"/>
          </ac:graphicFrameMkLst>
        </pc:graphicFrameChg>
        <pc:picChg chg="del">
          <ac:chgData name="Roberto Gallardo" userId="49a044883f185952" providerId="LiveId" clId="{CF6481B6-C025-4AC9-B98A-F2FC3DE900F1}" dt="2023-02-08T00:28:33.373" v="204" actId="478"/>
          <ac:picMkLst>
            <pc:docMk/>
            <pc:sldMk cId="3256182630" sldId="295"/>
            <ac:picMk id="6" creationId="{A3EA4A4C-BCA1-8FDA-D1FD-FA05E8298BD6}"/>
          </ac:picMkLst>
        </pc:picChg>
        <pc:picChg chg="add mod">
          <ac:chgData name="Roberto Gallardo" userId="49a044883f185952" providerId="LiveId" clId="{CF6481B6-C025-4AC9-B98A-F2FC3DE900F1}" dt="2023-02-08T00:30:48.103" v="226" actId="1076"/>
          <ac:picMkLst>
            <pc:docMk/>
            <pc:sldMk cId="3256182630" sldId="295"/>
            <ac:picMk id="7" creationId="{F09832AD-496E-AE8C-D62A-74A5F0DDC1E6}"/>
          </ac:picMkLst>
        </pc:picChg>
      </pc:sldChg>
      <pc:sldChg chg="addSp delSp modSp mod">
        <pc:chgData name="Roberto Gallardo" userId="49a044883f185952" providerId="LiveId" clId="{CF6481B6-C025-4AC9-B98A-F2FC3DE900F1}" dt="2023-02-21T23:28:01.796" v="1012" actId="27918"/>
        <pc:sldMkLst>
          <pc:docMk/>
          <pc:sldMk cId="4057156843" sldId="296"/>
        </pc:sldMkLst>
        <pc:picChg chg="del">
          <ac:chgData name="Roberto Gallardo" userId="49a044883f185952" providerId="LiveId" clId="{CF6481B6-C025-4AC9-B98A-F2FC3DE900F1}" dt="2023-02-08T00:31:35.989" v="227" actId="478"/>
          <ac:picMkLst>
            <pc:docMk/>
            <pc:sldMk cId="4057156843" sldId="296"/>
            <ac:picMk id="6" creationId="{F008FCD4-DAD8-C43A-D838-476BF79AE0E0}"/>
          </ac:picMkLst>
        </pc:picChg>
        <pc:picChg chg="add mod">
          <ac:chgData name="Roberto Gallardo" userId="49a044883f185952" providerId="LiveId" clId="{CF6481B6-C025-4AC9-B98A-F2FC3DE900F1}" dt="2023-02-08T00:35:48.328" v="242" actId="1076"/>
          <ac:picMkLst>
            <pc:docMk/>
            <pc:sldMk cId="4057156843" sldId="296"/>
            <ac:picMk id="7" creationId="{2519EE5D-02DA-57D1-DE45-F0A4BB965548}"/>
          </ac:picMkLst>
        </pc:picChg>
      </pc:sldChg>
      <pc:sldChg chg="addSp delSp modSp mod">
        <pc:chgData name="Roberto Gallardo" userId="49a044883f185952" providerId="LiveId" clId="{CF6481B6-C025-4AC9-B98A-F2FC3DE900F1}" dt="2023-02-08T00:28:15.599" v="203" actId="1076"/>
        <pc:sldMkLst>
          <pc:docMk/>
          <pc:sldMk cId="2080110827" sldId="297"/>
        </pc:sldMkLst>
        <pc:picChg chg="del mod">
          <ac:chgData name="Roberto Gallardo" userId="49a044883f185952" providerId="LiveId" clId="{CF6481B6-C025-4AC9-B98A-F2FC3DE900F1}" dt="2023-02-08T00:27:43.144" v="196" actId="478"/>
          <ac:picMkLst>
            <pc:docMk/>
            <pc:sldMk cId="2080110827" sldId="297"/>
            <ac:picMk id="6" creationId="{8783B78A-E096-3062-5227-655EC1E5A6D2}"/>
          </ac:picMkLst>
        </pc:picChg>
        <pc:picChg chg="add mod">
          <ac:chgData name="Roberto Gallardo" userId="49a044883f185952" providerId="LiveId" clId="{CF6481B6-C025-4AC9-B98A-F2FC3DE900F1}" dt="2023-02-08T00:28:15.599" v="203" actId="1076"/>
          <ac:picMkLst>
            <pc:docMk/>
            <pc:sldMk cId="2080110827" sldId="297"/>
            <ac:picMk id="7" creationId="{C6D62B8A-CECF-DD09-E2E6-9E8C093B5C3F}"/>
          </ac:picMkLst>
        </pc:picChg>
      </pc:sldChg>
      <pc:sldChg chg="addSp delSp modSp mod">
        <pc:chgData name="Roberto Gallardo" userId="49a044883f185952" providerId="LiveId" clId="{CF6481B6-C025-4AC9-B98A-F2FC3DE900F1}" dt="2023-02-08T00:27:34.764" v="194" actId="1076"/>
        <pc:sldMkLst>
          <pc:docMk/>
          <pc:sldMk cId="1532666867" sldId="298"/>
        </pc:sldMkLst>
        <pc:picChg chg="del">
          <ac:chgData name="Roberto Gallardo" userId="49a044883f185952" providerId="LiveId" clId="{CF6481B6-C025-4AC9-B98A-F2FC3DE900F1}" dt="2023-02-08T00:26:59.142" v="187" actId="478"/>
          <ac:picMkLst>
            <pc:docMk/>
            <pc:sldMk cId="1532666867" sldId="298"/>
            <ac:picMk id="6" creationId="{C00E5955-BE21-17F2-6653-01B391A563F5}"/>
          </ac:picMkLst>
        </pc:picChg>
        <pc:picChg chg="add mod">
          <ac:chgData name="Roberto Gallardo" userId="49a044883f185952" providerId="LiveId" clId="{CF6481B6-C025-4AC9-B98A-F2FC3DE900F1}" dt="2023-02-08T00:27:34.764" v="194" actId="1076"/>
          <ac:picMkLst>
            <pc:docMk/>
            <pc:sldMk cId="1532666867" sldId="298"/>
            <ac:picMk id="7" creationId="{23C11C7A-A27F-BC43-1FC4-65B571B19F56}"/>
          </ac:picMkLst>
        </pc:picChg>
      </pc:sldChg>
      <pc:sldChg chg="addSp delSp modSp mod">
        <pc:chgData name="Roberto Gallardo" userId="49a044883f185952" providerId="LiveId" clId="{CF6481B6-C025-4AC9-B98A-F2FC3DE900F1}" dt="2023-02-22T00:08:02.230" v="1266" actId="27918"/>
        <pc:sldMkLst>
          <pc:docMk/>
          <pc:sldMk cId="1951376777" sldId="299"/>
        </pc:sldMkLst>
        <pc:picChg chg="del">
          <ac:chgData name="Roberto Gallardo" userId="49a044883f185952" providerId="LiveId" clId="{CF6481B6-C025-4AC9-B98A-F2FC3DE900F1}" dt="2023-02-08T00:53:42.769" v="438" actId="478"/>
          <ac:picMkLst>
            <pc:docMk/>
            <pc:sldMk cId="1951376777" sldId="299"/>
            <ac:picMk id="5" creationId="{69CF13D3-60D5-1060-F552-408D2051F5AC}"/>
          </ac:picMkLst>
        </pc:picChg>
        <pc:picChg chg="add mod">
          <ac:chgData name="Roberto Gallardo" userId="49a044883f185952" providerId="LiveId" clId="{CF6481B6-C025-4AC9-B98A-F2FC3DE900F1}" dt="2023-02-08T00:57:05.824" v="491" actId="1076"/>
          <ac:picMkLst>
            <pc:docMk/>
            <pc:sldMk cId="1951376777" sldId="299"/>
            <ac:picMk id="8" creationId="{88A71281-27AB-D008-0EB9-E27A1E6DDCB0}"/>
          </ac:picMkLst>
        </pc:picChg>
      </pc:sldChg>
      <pc:sldChg chg="addSp delSp modSp mod">
        <pc:chgData name="Roberto Gallardo" userId="49a044883f185952" providerId="LiveId" clId="{CF6481B6-C025-4AC9-B98A-F2FC3DE900F1}" dt="2023-02-21T22:38:08.666" v="894" actId="27918"/>
        <pc:sldMkLst>
          <pc:docMk/>
          <pc:sldMk cId="2841628872" sldId="303"/>
        </pc:sldMkLst>
        <pc:graphicFrameChg chg="add mod">
          <ac:chgData name="Roberto Gallardo" userId="49a044883f185952" providerId="LiveId" clId="{CF6481B6-C025-4AC9-B98A-F2FC3DE900F1}" dt="2023-02-08T00:19:20.176" v="135" actId="255"/>
          <ac:graphicFrameMkLst>
            <pc:docMk/>
            <pc:sldMk cId="2841628872" sldId="303"/>
            <ac:graphicFrameMk id="5" creationId="{30BAB4B4-48FF-BFD0-C485-12BA6DE00E29}"/>
          </ac:graphicFrameMkLst>
        </pc:graphicFrameChg>
        <pc:graphicFrameChg chg="del">
          <ac:chgData name="Roberto Gallardo" userId="49a044883f185952" providerId="LiveId" clId="{CF6481B6-C025-4AC9-B98A-F2FC3DE900F1}" dt="2023-02-08T00:18:07.019" v="123" actId="478"/>
          <ac:graphicFrameMkLst>
            <pc:docMk/>
            <pc:sldMk cId="2841628872" sldId="303"/>
            <ac:graphicFrameMk id="10" creationId="{FD2FC231-ACEF-5FF2-C4CE-DFF89EB85588}"/>
          </ac:graphicFrameMkLst>
        </pc:graphicFrameChg>
      </pc:sldChg>
      <pc:sldChg chg="addSp delSp modSp mod">
        <pc:chgData name="Roberto Gallardo" userId="49a044883f185952" providerId="LiveId" clId="{CF6481B6-C025-4AC9-B98A-F2FC3DE900F1}" dt="2023-02-21T22:44:11.098" v="917" actId="27918"/>
        <pc:sldMkLst>
          <pc:docMk/>
          <pc:sldMk cId="3084076302" sldId="304"/>
        </pc:sldMkLst>
        <pc:graphicFrameChg chg="add mod">
          <ac:chgData name="Roberto Gallardo" userId="49a044883f185952" providerId="LiveId" clId="{CF6481B6-C025-4AC9-B98A-F2FC3DE900F1}" dt="2023-02-08T00:20:40.881" v="137"/>
          <ac:graphicFrameMkLst>
            <pc:docMk/>
            <pc:sldMk cId="3084076302" sldId="304"/>
            <ac:graphicFrameMk id="5" creationId="{E6387C1B-F121-65CB-209D-FCDF945093CD}"/>
          </ac:graphicFrameMkLst>
        </pc:graphicFrameChg>
        <pc:graphicFrameChg chg="del">
          <ac:chgData name="Roberto Gallardo" userId="49a044883f185952" providerId="LiveId" clId="{CF6481B6-C025-4AC9-B98A-F2FC3DE900F1}" dt="2023-02-08T00:20:40.241" v="136" actId="478"/>
          <ac:graphicFrameMkLst>
            <pc:docMk/>
            <pc:sldMk cId="3084076302" sldId="304"/>
            <ac:graphicFrameMk id="10" creationId="{FD2FC231-ACEF-5FF2-C4CE-DFF89EB85588}"/>
          </ac:graphicFrameMkLst>
        </pc:graphicFrameChg>
      </pc:sldChg>
      <pc:sldChg chg="addSp delSp modSp mod">
        <pc:chgData name="Roberto Gallardo" userId="49a044883f185952" providerId="LiveId" clId="{CF6481B6-C025-4AC9-B98A-F2FC3DE900F1}" dt="2023-02-21T22:51:33.526" v="963" actId="27918"/>
        <pc:sldMkLst>
          <pc:docMk/>
          <pc:sldMk cId="473712435" sldId="305"/>
        </pc:sldMkLst>
        <pc:graphicFrameChg chg="add mod">
          <ac:chgData name="Roberto Gallardo" userId="49a044883f185952" providerId="LiveId" clId="{CF6481B6-C025-4AC9-B98A-F2FC3DE900F1}" dt="2023-02-08T00:24:33.939" v="166"/>
          <ac:graphicFrameMkLst>
            <pc:docMk/>
            <pc:sldMk cId="473712435" sldId="305"/>
            <ac:graphicFrameMk id="5" creationId="{939F4CC6-812D-53B2-A0EB-66A0555E9882}"/>
          </ac:graphicFrameMkLst>
        </pc:graphicFrameChg>
        <pc:graphicFrameChg chg="del">
          <ac:chgData name="Roberto Gallardo" userId="49a044883f185952" providerId="LiveId" clId="{CF6481B6-C025-4AC9-B98A-F2FC3DE900F1}" dt="2023-02-08T00:24:28.447" v="165" actId="478"/>
          <ac:graphicFrameMkLst>
            <pc:docMk/>
            <pc:sldMk cId="473712435" sldId="305"/>
            <ac:graphicFrameMk id="10" creationId="{FD2FC231-ACEF-5FF2-C4CE-DFF89EB85588}"/>
          </ac:graphicFrameMkLst>
        </pc:graphicFrameChg>
      </pc:sldChg>
    </pc:docChg>
  </pc:docChgLst>
  <pc:docChgLst>
    <pc:chgData name="Roberto Gallardo" userId="49a044883f185952" providerId="LiveId" clId="{3DF3007B-9C7A-4F8C-96B1-A9A15E037881}"/>
    <pc:docChg chg="undo custSel addSld delSld modSld">
      <pc:chgData name="Roberto Gallardo" userId="49a044883f185952" providerId="LiveId" clId="{3DF3007B-9C7A-4F8C-96B1-A9A15E037881}" dt="2023-01-15T16:51:15.895" v="1396" actId="47"/>
      <pc:docMkLst>
        <pc:docMk/>
      </pc:docMkLst>
      <pc:sldChg chg="modSp mod">
        <pc:chgData name="Roberto Gallardo" userId="49a044883f185952" providerId="LiveId" clId="{3DF3007B-9C7A-4F8C-96B1-A9A15E037881}" dt="2023-01-14T15:21:31.948" v="16" actId="6549"/>
        <pc:sldMkLst>
          <pc:docMk/>
          <pc:sldMk cId="2846901679" sldId="256"/>
        </pc:sldMkLst>
        <pc:spChg chg="mod">
          <ac:chgData name="Roberto Gallardo" userId="49a044883f185952" providerId="LiveId" clId="{3DF3007B-9C7A-4F8C-96B1-A9A15E037881}" dt="2023-01-14T15:21:31.948" v="16" actId="6549"/>
          <ac:spMkLst>
            <pc:docMk/>
            <pc:sldMk cId="2846901679" sldId="256"/>
            <ac:spMk id="7" creationId="{B1E0ABEC-554C-720A-2772-F0324C8E93CA}"/>
          </ac:spMkLst>
        </pc:spChg>
      </pc:sldChg>
      <pc:sldChg chg="mod">
        <pc:chgData name="Roberto Gallardo" userId="49a044883f185952" providerId="LiveId" clId="{3DF3007B-9C7A-4F8C-96B1-A9A15E037881}" dt="2023-01-14T15:24:33.976" v="40" actId="27918"/>
        <pc:sldMkLst>
          <pc:docMk/>
          <pc:sldMk cId="3231157596" sldId="257"/>
        </pc:sldMkLst>
      </pc:sldChg>
      <pc:sldChg chg="mod">
        <pc:chgData name="Roberto Gallardo" userId="49a044883f185952" providerId="LiveId" clId="{3DF3007B-9C7A-4F8C-96B1-A9A15E037881}" dt="2023-01-14T15:23:19.723" v="28" actId="27918"/>
        <pc:sldMkLst>
          <pc:docMk/>
          <pc:sldMk cId="3702837515" sldId="258"/>
        </pc:sldMkLst>
      </pc:sldChg>
      <pc:sldChg chg="mod">
        <pc:chgData name="Roberto Gallardo" userId="49a044883f185952" providerId="LiveId" clId="{3DF3007B-9C7A-4F8C-96B1-A9A15E037881}" dt="2023-01-14T15:23:53.414" v="34" actId="27918"/>
        <pc:sldMkLst>
          <pc:docMk/>
          <pc:sldMk cId="2519083202" sldId="259"/>
        </pc:sldMkLst>
      </pc:sldChg>
      <pc:sldChg chg="mod">
        <pc:chgData name="Roberto Gallardo" userId="49a044883f185952" providerId="LiveId" clId="{3DF3007B-9C7A-4F8C-96B1-A9A15E037881}" dt="2023-01-14T15:22:26.974" v="22" actId="27918"/>
        <pc:sldMkLst>
          <pc:docMk/>
          <pc:sldMk cId="3877078759" sldId="260"/>
        </pc:sldMkLst>
      </pc:sldChg>
      <pc:sldChg chg="mod">
        <pc:chgData name="Roberto Gallardo" userId="49a044883f185952" providerId="LiveId" clId="{3DF3007B-9C7A-4F8C-96B1-A9A15E037881}" dt="2023-01-14T15:25:55.685" v="52" actId="27918"/>
        <pc:sldMkLst>
          <pc:docMk/>
          <pc:sldMk cId="1175010214" sldId="261"/>
        </pc:sldMkLst>
      </pc:sldChg>
      <pc:sldChg chg="addSp delSp modSp mod">
        <pc:chgData name="Roberto Gallardo" userId="49a044883f185952" providerId="LiveId" clId="{3DF3007B-9C7A-4F8C-96B1-A9A15E037881}" dt="2023-01-14T15:26:27.256" v="60" actId="1076"/>
        <pc:sldMkLst>
          <pc:docMk/>
          <pc:sldMk cId="1418533539" sldId="271"/>
        </pc:sldMkLst>
        <pc:picChg chg="add mod">
          <ac:chgData name="Roberto Gallardo" userId="49a044883f185952" providerId="LiveId" clId="{3DF3007B-9C7A-4F8C-96B1-A9A15E037881}" dt="2023-01-14T15:26:27.256" v="60" actId="1076"/>
          <ac:picMkLst>
            <pc:docMk/>
            <pc:sldMk cId="1418533539" sldId="271"/>
            <ac:picMk id="6" creationId="{AA324F2A-B126-1213-F38B-7FC8BB6EC3B1}"/>
          </ac:picMkLst>
        </pc:picChg>
        <pc:picChg chg="del">
          <ac:chgData name="Roberto Gallardo" userId="49a044883f185952" providerId="LiveId" clId="{3DF3007B-9C7A-4F8C-96B1-A9A15E037881}" dt="2023-01-14T15:26:05.274" v="53" actId="478"/>
          <ac:picMkLst>
            <pc:docMk/>
            <pc:sldMk cId="1418533539" sldId="271"/>
            <ac:picMk id="10" creationId="{1B762686-DC65-9B90-CF68-660E6B2284BC}"/>
          </ac:picMkLst>
        </pc:picChg>
      </pc:sldChg>
      <pc:sldChg chg="mod">
        <pc:chgData name="Roberto Gallardo" userId="49a044883f185952" providerId="LiveId" clId="{3DF3007B-9C7A-4F8C-96B1-A9A15E037881}" dt="2023-01-14T15:25:13.772" v="46" actId="27918"/>
        <pc:sldMkLst>
          <pc:docMk/>
          <pc:sldMk cId="2653937722" sldId="272"/>
        </pc:sldMkLst>
      </pc:sldChg>
      <pc:sldChg chg="modSp mod">
        <pc:chgData name="Roberto Gallardo" userId="49a044883f185952" providerId="LiveId" clId="{3DF3007B-9C7A-4F8C-96B1-A9A15E037881}" dt="2023-01-14T16:01:05.082" v="416" actId="20577"/>
        <pc:sldMkLst>
          <pc:docMk/>
          <pc:sldMk cId="2076698419" sldId="273"/>
        </pc:sldMkLst>
        <pc:spChg chg="mod">
          <ac:chgData name="Roberto Gallardo" userId="49a044883f185952" providerId="LiveId" clId="{3DF3007B-9C7A-4F8C-96B1-A9A15E037881}" dt="2023-01-14T16:01:05.082" v="416" actId="20577"/>
          <ac:spMkLst>
            <pc:docMk/>
            <pc:sldMk cId="2076698419" sldId="273"/>
            <ac:spMk id="8" creationId="{40AF43CC-DD34-B66D-2100-C70E6AB3ED53}"/>
          </ac:spMkLst>
        </pc:spChg>
      </pc:sldChg>
      <pc:sldChg chg="mod">
        <pc:chgData name="Roberto Gallardo" userId="49a044883f185952" providerId="LiveId" clId="{3DF3007B-9C7A-4F8C-96B1-A9A15E037881}" dt="2023-01-14T15:51:31.823" v="393" actId="27918"/>
        <pc:sldMkLst>
          <pc:docMk/>
          <pc:sldMk cId="3802335161" sldId="274"/>
        </pc:sldMkLst>
      </pc:sldChg>
      <pc:sldChg chg="mod">
        <pc:chgData name="Roberto Gallardo" userId="49a044883f185952" providerId="LiveId" clId="{3DF3007B-9C7A-4F8C-96B1-A9A15E037881}" dt="2023-01-14T15:52:39.235" v="399" actId="27918"/>
        <pc:sldMkLst>
          <pc:docMk/>
          <pc:sldMk cId="4292554322" sldId="275"/>
        </pc:sldMkLst>
      </pc:sldChg>
      <pc:sldChg chg="addSp delSp modSp mod">
        <pc:chgData name="Roberto Gallardo" userId="49a044883f185952" providerId="LiveId" clId="{3DF3007B-9C7A-4F8C-96B1-A9A15E037881}" dt="2023-01-15T16:07:02.689" v="1387" actId="1076"/>
        <pc:sldMkLst>
          <pc:docMk/>
          <pc:sldMk cId="513409896" sldId="276"/>
        </pc:sldMkLst>
        <pc:spChg chg="add mod">
          <ac:chgData name="Roberto Gallardo" userId="49a044883f185952" providerId="LiveId" clId="{3DF3007B-9C7A-4F8C-96B1-A9A15E037881}" dt="2023-01-15T16:07:02.689" v="1387" actId="1076"/>
          <ac:spMkLst>
            <pc:docMk/>
            <pc:sldMk cId="513409896" sldId="276"/>
            <ac:spMk id="3" creationId="{AADBAC77-8094-925B-9C83-2132E5A4A84C}"/>
          </ac:spMkLst>
        </pc:spChg>
        <pc:spChg chg="add mod">
          <ac:chgData name="Roberto Gallardo" userId="49a044883f185952" providerId="LiveId" clId="{3DF3007B-9C7A-4F8C-96B1-A9A15E037881}" dt="2023-01-15T16:06:46.356" v="1384" actId="1076"/>
          <ac:spMkLst>
            <pc:docMk/>
            <pc:sldMk cId="513409896" sldId="276"/>
            <ac:spMk id="5" creationId="{EA0F984F-F15C-B54F-E4CE-75954416187D}"/>
          </ac:spMkLst>
        </pc:spChg>
        <pc:spChg chg="del">
          <ac:chgData name="Roberto Gallardo" userId="49a044883f185952" providerId="LiveId" clId="{3DF3007B-9C7A-4F8C-96B1-A9A15E037881}" dt="2023-01-14T16:00:57.620" v="411" actId="478"/>
          <ac:spMkLst>
            <pc:docMk/>
            <pc:sldMk cId="513409896" sldId="276"/>
            <ac:spMk id="8" creationId="{40AF43CC-DD34-B66D-2100-C70E6AB3ED53}"/>
          </ac:spMkLst>
        </pc:spChg>
        <pc:spChg chg="mod">
          <ac:chgData name="Roberto Gallardo" userId="49a044883f185952" providerId="LiveId" clId="{3DF3007B-9C7A-4F8C-96B1-A9A15E037881}" dt="2023-01-14T15:51:01.138" v="389" actId="1036"/>
          <ac:spMkLst>
            <pc:docMk/>
            <pc:sldMk cId="513409896" sldId="276"/>
            <ac:spMk id="21" creationId="{9A68ADBE-AECC-EE60-7E94-3675B33E08AE}"/>
          </ac:spMkLst>
        </pc:spChg>
        <pc:spChg chg="del">
          <ac:chgData name="Roberto Gallardo" userId="49a044883f185952" providerId="LiveId" clId="{3DF3007B-9C7A-4F8C-96B1-A9A15E037881}" dt="2023-01-14T16:00:57.620" v="411" actId="478"/>
          <ac:spMkLst>
            <pc:docMk/>
            <pc:sldMk cId="513409896" sldId="276"/>
            <ac:spMk id="26" creationId="{CCDA5E37-63CE-CEAA-0EAC-3BD8E75B5BA0}"/>
          </ac:spMkLst>
        </pc:spChg>
        <pc:cxnChg chg="mod">
          <ac:chgData name="Roberto Gallardo" userId="49a044883f185952" providerId="LiveId" clId="{3DF3007B-9C7A-4F8C-96B1-A9A15E037881}" dt="2023-01-14T15:50:22.520" v="375" actId="1076"/>
          <ac:cxnSpMkLst>
            <pc:docMk/>
            <pc:sldMk cId="513409896" sldId="276"/>
            <ac:cxnSpMk id="22" creationId="{1B423FA0-E4B3-6570-929B-A9283D503787}"/>
          </ac:cxnSpMkLst>
        </pc:cxnChg>
        <pc:cxnChg chg="mod">
          <ac:chgData name="Roberto Gallardo" userId="49a044883f185952" providerId="LiveId" clId="{3DF3007B-9C7A-4F8C-96B1-A9A15E037881}" dt="2023-01-14T15:50:42.679" v="381" actId="1076"/>
          <ac:cxnSpMkLst>
            <pc:docMk/>
            <pc:sldMk cId="513409896" sldId="276"/>
            <ac:cxnSpMk id="23" creationId="{D616797E-0044-3804-BA5A-23B8EB309CA5}"/>
          </ac:cxnSpMkLst>
        </pc:cxnChg>
        <pc:cxnChg chg="mod">
          <ac:chgData name="Roberto Gallardo" userId="49a044883f185952" providerId="LiveId" clId="{3DF3007B-9C7A-4F8C-96B1-A9A15E037881}" dt="2023-01-14T15:50:54.479" v="384" actId="14100"/>
          <ac:cxnSpMkLst>
            <pc:docMk/>
            <pc:sldMk cId="513409896" sldId="276"/>
            <ac:cxnSpMk id="24" creationId="{20A6256E-6780-BAE0-B803-D02FE024579F}"/>
          </ac:cxnSpMkLst>
        </pc:cxnChg>
        <pc:cxnChg chg="mod">
          <ac:chgData name="Roberto Gallardo" userId="49a044883f185952" providerId="LiveId" clId="{3DF3007B-9C7A-4F8C-96B1-A9A15E037881}" dt="2023-01-14T15:50:58.181" v="385" actId="14100"/>
          <ac:cxnSpMkLst>
            <pc:docMk/>
            <pc:sldMk cId="513409896" sldId="276"/>
            <ac:cxnSpMk id="25" creationId="{62B7492E-2C75-E0CD-947E-C582F412F7D7}"/>
          </ac:cxnSpMkLst>
        </pc:cxnChg>
      </pc:sldChg>
      <pc:sldChg chg="modSp del mod">
        <pc:chgData name="Roberto Gallardo" userId="49a044883f185952" providerId="LiveId" clId="{3DF3007B-9C7A-4F8C-96B1-A9A15E037881}" dt="2023-01-15T16:51:15.895" v="1396" actId="47"/>
        <pc:sldMkLst>
          <pc:docMk/>
          <pc:sldMk cId="543148149" sldId="277"/>
        </pc:sldMkLst>
        <pc:spChg chg="mod">
          <ac:chgData name="Roberto Gallardo" userId="49a044883f185952" providerId="LiveId" clId="{3DF3007B-9C7A-4F8C-96B1-A9A15E037881}" dt="2023-01-15T15:50:18.722" v="964" actId="1076"/>
          <ac:spMkLst>
            <pc:docMk/>
            <pc:sldMk cId="543148149" sldId="277"/>
            <ac:spMk id="2" creationId="{C03B1400-5F72-D252-1DBE-EDCD6E63B07C}"/>
          </ac:spMkLst>
        </pc:spChg>
        <pc:spChg chg="mod">
          <ac:chgData name="Roberto Gallardo" userId="49a044883f185952" providerId="LiveId" clId="{3DF3007B-9C7A-4F8C-96B1-A9A15E037881}" dt="2023-01-15T16:37:25.668" v="1394" actId="113"/>
          <ac:spMkLst>
            <pc:docMk/>
            <pc:sldMk cId="543148149" sldId="277"/>
            <ac:spMk id="5" creationId="{6AE302AC-8931-4144-BE52-DD1A8BA82462}"/>
          </ac:spMkLst>
        </pc:spChg>
        <pc:spChg chg="mod">
          <ac:chgData name="Roberto Gallardo" userId="49a044883f185952" providerId="LiveId" clId="{3DF3007B-9C7A-4F8C-96B1-A9A15E037881}" dt="2023-01-15T16:04:28.598" v="1207" actId="20577"/>
          <ac:spMkLst>
            <pc:docMk/>
            <pc:sldMk cId="543148149" sldId="277"/>
            <ac:spMk id="9" creationId="{E362A98F-7DCD-C67C-23CE-1BE182A133B4}"/>
          </ac:spMkLst>
        </pc:spChg>
      </pc:sldChg>
      <pc:sldChg chg="mod">
        <pc:chgData name="Roberto Gallardo" userId="49a044883f185952" providerId="LiveId" clId="{3DF3007B-9C7A-4F8C-96B1-A9A15E037881}" dt="2023-01-14T15:48:34.199" v="358" actId="27918"/>
        <pc:sldMkLst>
          <pc:docMk/>
          <pc:sldMk cId="349244952" sldId="278"/>
        </pc:sldMkLst>
      </pc:sldChg>
      <pc:sldChg chg="addSp delSp modSp mod">
        <pc:chgData name="Roberto Gallardo" userId="49a044883f185952" providerId="LiveId" clId="{3DF3007B-9C7A-4F8C-96B1-A9A15E037881}" dt="2023-01-14T15:33:38.998" v="158" actId="1076"/>
        <pc:sldMkLst>
          <pc:docMk/>
          <pc:sldMk cId="2124848710" sldId="281"/>
        </pc:sldMkLst>
        <pc:picChg chg="del">
          <ac:chgData name="Roberto Gallardo" userId="49a044883f185952" providerId="LiveId" clId="{3DF3007B-9C7A-4F8C-96B1-A9A15E037881}" dt="2023-01-14T15:32:28.794" v="142" actId="478"/>
          <ac:picMkLst>
            <pc:docMk/>
            <pc:sldMk cId="2124848710" sldId="281"/>
            <ac:picMk id="5" creationId="{2A59AE6B-1B9E-0347-0422-DB514C73822C}"/>
          </ac:picMkLst>
        </pc:picChg>
        <pc:picChg chg="add mod">
          <ac:chgData name="Roberto Gallardo" userId="49a044883f185952" providerId="LiveId" clId="{3DF3007B-9C7A-4F8C-96B1-A9A15E037881}" dt="2023-01-14T15:33:38.998" v="158" actId="1076"/>
          <ac:picMkLst>
            <pc:docMk/>
            <pc:sldMk cId="2124848710" sldId="281"/>
            <ac:picMk id="8" creationId="{B2C7F90E-076E-E7F4-6353-0557D09C4DB8}"/>
          </ac:picMkLst>
        </pc:picChg>
      </pc:sldChg>
      <pc:sldChg chg="addSp delSp modSp mod">
        <pc:chgData name="Roberto Gallardo" userId="49a044883f185952" providerId="LiveId" clId="{3DF3007B-9C7A-4F8C-96B1-A9A15E037881}" dt="2023-01-14T15:34:52.737" v="176" actId="1076"/>
        <pc:sldMkLst>
          <pc:docMk/>
          <pc:sldMk cId="2028175529" sldId="282"/>
        </pc:sldMkLst>
        <pc:picChg chg="add mod">
          <ac:chgData name="Roberto Gallardo" userId="49a044883f185952" providerId="LiveId" clId="{3DF3007B-9C7A-4F8C-96B1-A9A15E037881}" dt="2023-01-14T15:34:52.737" v="176" actId="1076"/>
          <ac:picMkLst>
            <pc:docMk/>
            <pc:sldMk cId="2028175529" sldId="282"/>
            <ac:picMk id="5" creationId="{260C7A0C-0951-FADF-30D5-25F9F86F74C3}"/>
          </ac:picMkLst>
        </pc:picChg>
        <pc:picChg chg="del">
          <ac:chgData name="Roberto Gallardo" userId="49a044883f185952" providerId="LiveId" clId="{3DF3007B-9C7A-4F8C-96B1-A9A15E037881}" dt="2023-01-14T15:33:45.081" v="159" actId="478"/>
          <ac:picMkLst>
            <pc:docMk/>
            <pc:sldMk cId="2028175529" sldId="282"/>
            <ac:picMk id="8" creationId="{C96FB809-0226-5B71-8F0F-02E5A446EAFD}"/>
          </ac:picMkLst>
        </pc:picChg>
      </pc:sldChg>
      <pc:sldChg chg="addSp delSp modSp mod">
        <pc:chgData name="Roberto Gallardo" userId="49a044883f185952" providerId="LiveId" clId="{3DF3007B-9C7A-4F8C-96B1-A9A15E037881}" dt="2023-01-14T15:55:05.449" v="410" actId="27918"/>
        <pc:sldMkLst>
          <pc:docMk/>
          <pc:sldMk cId="1326517747" sldId="283"/>
        </pc:sldMkLst>
        <pc:picChg chg="add mod">
          <ac:chgData name="Roberto Gallardo" userId="49a044883f185952" providerId="LiveId" clId="{3DF3007B-9C7A-4F8C-96B1-A9A15E037881}" dt="2023-01-14T15:36:09.331" v="194" actId="1076"/>
          <ac:picMkLst>
            <pc:docMk/>
            <pc:sldMk cId="1326517747" sldId="283"/>
            <ac:picMk id="5" creationId="{D5820370-CCF1-A1EF-BE00-D7215C0A77FB}"/>
          </ac:picMkLst>
        </pc:picChg>
        <pc:picChg chg="del">
          <ac:chgData name="Roberto Gallardo" userId="49a044883f185952" providerId="LiveId" clId="{3DF3007B-9C7A-4F8C-96B1-A9A15E037881}" dt="2023-01-14T15:35:02.381" v="177" actId="478"/>
          <ac:picMkLst>
            <pc:docMk/>
            <pc:sldMk cId="1326517747" sldId="283"/>
            <ac:picMk id="8" creationId="{9C745558-7BBD-B834-609E-ED244F71DA92}"/>
          </ac:picMkLst>
        </pc:picChg>
      </pc:sldChg>
      <pc:sldChg chg="addSp delSp modSp mod">
        <pc:chgData name="Roberto Gallardo" userId="49a044883f185952" providerId="LiveId" clId="{3DF3007B-9C7A-4F8C-96B1-A9A15E037881}" dt="2023-01-14T15:37:31.474" v="212" actId="1076"/>
        <pc:sldMkLst>
          <pc:docMk/>
          <pc:sldMk cId="783739251" sldId="284"/>
        </pc:sldMkLst>
        <pc:picChg chg="add mod">
          <ac:chgData name="Roberto Gallardo" userId="49a044883f185952" providerId="LiveId" clId="{3DF3007B-9C7A-4F8C-96B1-A9A15E037881}" dt="2023-01-14T15:37:31.474" v="212" actId="1076"/>
          <ac:picMkLst>
            <pc:docMk/>
            <pc:sldMk cId="783739251" sldId="284"/>
            <ac:picMk id="5" creationId="{51A0082B-6724-5BA2-83DB-9E6F050C4194}"/>
          </ac:picMkLst>
        </pc:picChg>
        <pc:picChg chg="del">
          <ac:chgData name="Roberto Gallardo" userId="49a044883f185952" providerId="LiveId" clId="{3DF3007B-9C7A-4F8C-96B1-A9A15E037881}" dt="2023-01-14T15:36:16.664" v="195" actId="478"/>
          <ac:picMkLst>
            <pc:docMk/>
            <pc:sldMk cId="783739251" sldId="284"/>
            <ac:picMk id="8" creationId="{5EB75393-923B-5E8A-A45C-412BB00B7CE6}"/>
          </ac:picMkLst>
        </pc:picChg>
      </pc:sldChg>
      <pc:sldChg chg="addSp delSp modSp mod">
        <pc:chgData name="Roberto Gallardo" userId="49a044883f185952" providerId="LiveId" clId="{3DF3007B-9C7A-4F8C-96B1-A9A15E037881}" dt="2023-01-14T15:38:53.794" v="231" actId="1076"/>
        <pc:sldMkLst>
          <pc:docMk/>
          <pc:sldMk cId="1676122233" sldId="285"/>
        </pc:sldMkLst>
        <pc:picChg chg="add mod">
          <ac:chgData name="Roberto Gallardo" userId="49a044883f185952" providerId="LiveId" clId="{3DF3007B-9C7A-4F8C-96B1-A9A15E037881}" dt="2023-01-14T15:38:53.794" v="231" actId="1076"/>
          <ac:picMkLst>
            <pc:docMk/>
            <pc:sldMk cId="1676122233" sldId="285"/>
            <ac:picMk id="5" creationId="{530164EF-188D-6031-69E1-DAEB594BD715}"/>
          </ac:picMkLst>
        </pc:picChg>
        <pc:picChg chg="del">
          <ac:chgData name="Roberto Gallardo" userId="49a044883f185952" providerId="LiveId" clId="{3DF3007B-9C7A-4F8C-96B1-A9A15E037881}" dt="2023-01-14T15:37:37.897" v="213" actId="478"/>
          <ac:picMkLst>
            <pc:docMk/>
            <pc:sldMk cId="1676122233" sldId="285"/>
            <ac:picMk id="8" creationId="{48B1E2F8-C8FE-C52D-F7C0-EE1A726B9349}"/>
          </ac:picMkLst>
        </pc:picChg>
      </pc:sldChg>
      <pc:sldChg chg="addSp delSp modSp mod">
        <pc:chgData name="Roberto Gallardo" userId="49a044883f185952" providerId="LiveId" clId="{3DF3007B-9C7A-4F8C-96B1-A9A15E037881}" dt="2023-01-14T15:40:07.717" v="250" actId="1076"/>
        <pc:sldMkLst>
          <pc:docMk/>
          <pc:sldMk cId="3100398757" sldId="286"/>
        </pc:sldMkLst>
        <pc:picChg chg="add mod">
          <ac:chgData name="Roberto Gallardo" userId="49a044883f185952" providerId="LiveId" clId="{3DF3007B-9C7A-4F8C-96B1-A9A15E037881}" dt="2023-01-14T15:40:07.717" v="250" actId="1076"/>
          <ac:picMkLst>
            <pc:docMk/>
            <pc:sldMk cId="3100398757" sldId="286"/>
            <ac:picMk id="5" creationId="{81384F42-FB82-8586-B860-364340637A94}"/>
          </ac:picMkLst>
        </pc:picChg>
        <pc:picChg chg="del">
          <ac:chgData name="Roberto Gallardo" userId="49a044883f185952" providerId="LiveId" clId="{3DF3007B-9C7A-4F8C-96B1-A9A15E037881}" dt="2023-01-14T15:38:58.416" v="232" actId="478"/>
          <ac:picMkLst>
            <pc:docMk/>
            <pc:sldMk cId="3100398757" sldId="286"/>
            <ac:picMk id="8" creationId="{67EF222E-EF11-45B4-B78B-674626454C4E}"/>
          </ac:picMkLst>
        </pc:picChg>
      </pc:sldChg>
      <pc:sldChg chg="addSp delSp modSp mod">
        <pc:chgData name="Roberto Gallardo" userId="49a044883f185952" providerId="LiveId" clId="{3DF3007B-9C7A-4F8C-96B1-A9A15E037881}" dt="2023-01-14T15:41:18.654" v="267" actId="1076"/>
        <pc:sldMkLst>
          <pc:docMk/>
          <pc:sldMk cId="1546475425" sldId="287"/>
        </pc:sldMkLst>
        <pc:picChg chg="add mod">
          <ac:chgData name="Roberto Gallardo" userId="49a044883f185952" providerId="LiveId" clId="{3DF3007B-9C7A-4F8C-96B1-A9A15E037881}" dt="2023-01-14T15:41:18.654" v="267" actId="1076"/>
          <ac:picMkLst>
            <pc:docMk/>
            <pc:sldMk cId="1546475425" sldId="287"/>
            <ac:picMk id="5" creationId="{9E9D876E-9747-F78D-891D-F8A446A515CF}"/>
          </ac:picMkLst>
        </pc:picChg>
        <pc:picChg chg="del">
          <ac:chgData name="Roberto Gallardo" userId="49a044883f185952" providerId="LiveId" clId="{3DF3007B-9C7A-4F8C-96B1-A9A15E037881}" dt="2023-01-14T15:40:15.179" v="251" actId="478"/>
          <ac:picMkLst>
            <pc:docMk/>
            <pc:sldMk cId="1546475425" sldId="287"/>
            <ac:picMk id="8" creationId="{46427D8E-669F-B7B7-9C33-5BCC9BE16612}"/>
          </ac:picMkLst>
        </pc:picChg>
      </pc:sldChg>
      <pc:sldChg chg="addSp delSp modSp mod">
        <pc:chgData name="Roberto Gallardo" userId="49a044883f185952" providerId="LiveId" clId="{3DF3007B-9C7A-4F8C-96B1-A9A15E037881}" dt="2023-01-14T15:43:52.325" v="301" actId="1076"/>
        <pc:sldMkLst>
          <pc:docMk/>
          <pc:sldMk cId="1380517306" sldId="288"/>
        </pc:sldMkLst>
        <pc:picChg chg="add mod">
          <ac:chgData name="Roberto Gallardo" userId="49a044883f185952" providerId="LiveId" clId="{3DF3007B-9C7A-4F8C-96B1-A9A15E037881}" dt="2023-01-14T15:43:52.325" v="301" actId="1076"/>
          <ac:picMkLst>
            <pc:docMk/>
            <pc:sldMk cId="1380517306" sldId="288"/>
            <ac:picMk id="5" creationId="{B56955DC-09E5-145F-D5EA-7A4828711AD9}"/>
          </ac:picMkLst>
        </pc:picChg>
        <pc:picChg chg="del">
          <ac:chgData name="Roberto Gallardo" userId="49a044883f185952" providerId="LiveId" clId="{3DF3007B-9C7A-4F8C-96B1-A9A15E037881}" dt="2023-01-14T15:42:43.161" v="285" actId="478"/>
          <ac:picMkLst>
            <pc:docMk/>
            <pc:sldMk cId="1380517306" sldId="288"/>
            <ac:picMk id="8" creationId="{DA143094-A860-740B-5598-937C43F51433}"/>
          </ac:picMkLst>
        </pc:picChg>
      </pc:sldChg>
      <pc:sldChg chg="addSp delSp modSp mod">
        <pc:chgData name="Roberto Gallardo" userId="49a044883f185952" providerId="LiveId" clId="{3DF3007B-9C7A-4F8C-96B1-A9A15E037881}" dt="2023-01-14T15:44:53.314" v="318" actId="1076"/>
        <pc:sldMkLst>
          <pc:docMk/>
          <pc:sldMk cId="1388671151" sldId="289"/>
        </pc:sldMkLst>
        <pc:picChg chg="add mod">
          <ac:chgData name="Roberto Gallardo" userId="49a044883f185952" providerId="LiveId" clId="{3DF3007B-9C7A-4F8C-96B1-A9A15E037881}" dt="2023-01-14T15:44:53.314" v="318" actId="1076"/>
          <ac:picMkLst>
            <pc:docMk/>
            <pc:sldMk cId="1388671151" sldId="289"/>
            <ac:picMk id="5" creationId="{D914859F-2C47-69E5-C8E5-153B565AD678}"/>
          </ac:picMkLst>
        </pc:picChg>
        <pc:picChg chg="del">
          <ac:chgData name="Roberto Gallardo" userId="49a044883f185952" providerId="LiveId" clId="{3DF3007B-9C7A-4F8C-96B1-A9A15E037881}" dt="2023-01-14T15:43:56.907" v="302" actId="478"/>
          <ac:picMkLst>
            <pc:docMk/>
            <pc:sldMk cId="1388671151" sldId="289"/>
            <ac:picMk id="8" creationId="{AED980C4-47A1-C04E-25A3-CD82D8EDBD08}"/>
          </ac:picMkLst>
        </pc:picChg>
      </pc:sldChg>
      <pc:sldChg chg="addSp delSp modSp mod">
        <pc:chgData name="Roberto Gallardo" userId="49a044883f185952" providerId="LiveId" clId="{3DF3007B-9C7A-4F8C-96B1-A9A15E037881}" dt="2023-01-15T16:06:14.292" v="1288" actId="20577"/>
        <pc:sldMkLst>
          <pc:docMk/>
          <pc:sldMk cId="2355376039" sldId="290"/>
        </pc:sldMkLst>
        <pc:spChg chg="mod">
          <ac:chgData name="Roberto Gallardo" userId="49a044883f185952" providerId="LiveId" clId="{3DF3007B-9C7A-4F8C-96B1-A9A15E037881}" dt="2023-01-15T16:06:14.292" v="1288" actId="20577"/>
          <ac:spMkLst>
            <pc:docMk/>
            <pc:sldMk cId="2355376039" sldId="290"/>
            <ac:spMk id="5" creationId="{AD271B2F-57B1-DDF3-844C-402D53D67F69}"/>
          </ac:spMkLst>
        </pc:spChg>
        <pc:picChg chg="del">
          <ac:chgData name="Roberto Gallardo" userId="49a044883f185952" providerId="LiveId" clId="{3DF3007B-9C7A-4F8C-96B1-A9A15E037881}" dt="2023-01-14T15:44:57.801" v="319" actId="478"/>
          <ac:picMkLst>
            <pc:docMk/>
            <pc:sldMk cId="2355376039" sldId="290"/>
            <ac:picMk id="8" creationId="{691D88B5-CF63-BD38-2195-191C7A96E128}"/>
          </ac:picMkLst>
        </pc:picChg>
        <pc:picChg chg="add mod">
          <ac:chgData name="Roberto Gallardo" userId="49a044883f185952" providerId="LiveId" clId="{3DF3007B-9C7A-4F8C-96B1-A9A15E037881}" dt="2023-01-14T15:46:21.505" v="335" actId="1076"/>
          <ac:picMkLst>
            <pc:docMk/>
            <pc:sldMk cId="2355376039" sldId="290"/>
            <ac:picMk id="9" creationId="{FBDED459-655E-6F8F-68B1-AF4AA58F1F84}"/>
          </ac:picMkLst>
        </pc:picChg>
      </pc:sldChg>
      <pc:sldChg chg="addSp delSp modSp mod">
        <pc:chgData name="Roberto Gallardo" userId="49a044883f185952" providerId="LiveId" clId="{3DF3007B-9C7A-4F8C-96B1-A9A15E037881}" dt="2023-01-15T16:13:27.698" v="1393"/>
        <pc:sldMkLst>
          <pc:docMk/>
          <pc:sldMk cId="3757257295" sldId="291"/>
        </pc:sldMkLst>
        <pc:spChg chg="mod">
          <ac:chgData name="Roberto Gallardo" userId="49a044883f185952" providerId="LiveId" clId="{3DF3007B-9C7A-4F8C-96B1-A9A15E037881}" dt="2023-01-15T16:13:27.698" v="1393"/>
          <ac:spMkLst>
            <pc:docMk/>
            <pc:sldMk cId="3757257295" sldId="291"/>
            <ac:spMk id="9" creationId="{7186EF87-E728-D13E-4ADB-699D1D4C3197}"/>
          </ac:spMkLst>
        </pc:spChg>
        <pc:graphicFrameChg chg="mod">
          <ac:chgData name="Roberto Gallardo" userId="49a044883f185952" providerId="LiveId" clId="{3DF3007B-9C7A-4F8C-96B1-A9A15E037881}" dt="2023-01-14T15:47:18.385" v="346"/>
          <ac:graphicFrameMkLst>
            <pc:docMk/>
            <pc:sldMk cId="3757257295" sldId="291"/>
            <ac:graphicFrameMk id="6" creationId="{CE45C3AF-C253-DC6A-54C2-FE3F8F710345}"/>
          </ac:graphicFrameMkLst>
        </pc:graphicFrameChg>
        <pc:picChg chg="add mod">
          <ac:chgData name="Roberto Gallardo" userId="49a044883f185952" providerId="LiveId" clId="{3DF3007B-9C7A-4F8C-96B1-A9A15E037881}" dt="2023-01-14T15:47:38.207" v="354" actId="1076"/>
          <ac:picMkLst>
            <pc:docMk/>
            <pc:sldMk cId="3757257295" sldId="291"/>
            <ac:picMk id="7" creationId="{A8C2B9C6-FE6E-6FFB-23EF-BFF18FD3ADBC}"/>
          </ac:picMkLst>
        </pc:picChg>
        <pc:picChg chg="del">
          <ac:chgData name="Roberto Gallardo" userId="49a044883f185952" providerId="LiveId" clId="{3DF3007B-9C7A-4F8C-96B1-A9A15E037881}" dt="2023-01-14T15:46:25.582" v="336" actId="478"/>
          <ac:picMkLst>
            <pc:docMk/>
            <pc:sldMk cId="3757257295" sldId="291"/>
            <ac:picMk id="8" creationId="{674086C1-C7A9-8285-AAEA-22247A0797F9}"/>
          </ac:picMkLst>
        </pc:picChg>
      </pc:sldChg>
      <pc:sldChg chg="addSp delSp modSp mod">
        <pc:chgData name="Roberto Gallardo" userId="49a044883f185952" providerId="LiveId" clId="{3DF3007B-9C7A-4F8C-96B1-A9A15E037881}" dt="2023-01-14T15:42:36.378" v="284" actId="1076"/>
        <pc:sldMkLst>
          <pc:docMk/>
          <pc:sldMk cId="1259856727" sldId="292"/>
        </pc:sldMkLst>
        <pc:picChg chg="add mod">
          <ac:chgData name="Roberto Gallardo" userId="49a044883f185952" providerId="LiveId" clId="{3DF3007B-9C7A-4F8C-96B1-A9A15E037881}" dt="2023-01-14T15:42:36.378" v="284" actId="1076"/>
          <ac:picMkLst>
            <pc:docMk/>
            <pc:sldMk cId="1259856727" sldId="292"/>
            <ac:picMk id="5" creationId="{B48EF86A-52C3-AB58-168F-16F2880765DB}"/>
          </ac:picMkLst>
        </pc:picChg>
        <pc:picChg chg="del">
          <ac:chgData name="Roberto Gallardo" userId="49a044883f185952" providerId="LiveId" clId="{3DF3007B-9C7A-4F8C-96B1-A9A15E037881}" dt="2023-01-14T15:41:24.451" v="268" actId="478"/>
          <ac:picMkLst>
            <pc:docMk/>
            <pc:sldMk cId="1259856727" sldId="292"/>
            <ac:picMk id="8" creationId="{ACDBDE58-AC87-FD18-3F93-26923B735BD3}"/>
          </ac:picMkLst>
        </pc:picChg>
      </pc:sldChg>
      <pc:sldChg chg="addSp delSp modSp mod">
        <pc:chgData name="Roberto Gallardo" userId="49a044883f185952" providerId="LiveId" clId="{3DF3007B-9C7A-4F8C-96B1-A9A15E037881}" dt="2023-01-14T15:32:12.906" v="141" actId="1076"/>
        <pc:sldMkLst>
          <pc:docMk/>
          <pc:sldMk cId="3324519687" sldId="293"/>
        </pc:sldMkLst>
        <pc:picChg chg="add mod">
          <ac:chgData name="Roberto Gallardo" userId="49a044883f185952" providerId="LiveId" clId="{3DF3007B-9C7A-4F8C-96B1-A9A15E037881}" dt="2023-01-14T15:32:12.906" v="141" actId="1076"/>
          <ac:picMkLst>
            <pc:docMk/>
            <pc:sldMk cId="3324519687" sldId="293"/>
            <ac:picMk id="7" creationId="{A60F00B6-02AC-6AA9-3D46-B7D23CB693CF}"/>
          </ac:picMkLst>
        </pc:picChg>
        <pc:picChg chg="del">
          <ac:chgData name="Roberto Gallardo" userId="49a044883f185952" providerId="LiveId" clId="{3DF3007B-9C7A-4F8C-96B1-A9A15E037881}" dt="2023-01-14T15:30:56" v="124" actId="478"/>
          <ac:picMkLst>
            <pc:docMk/>
            <pc:sldMk cId="3324519687" sldId="293"/>
            <ac:picMk id="8" creationId="{EBF08018-13C5-6C09-EDA1-F15EE5AE8D0D}"/>
          </ac:picMkLst>
        </pc:picChg>
      </pc:sldChg>
      <pc:sldChg chg="addSp delSp modSp mod">
        <pc:chgData name="Roberto Gallardo" userId="49a044883f185952" providerId="LiveId" clId="{3DF3007B-9C7A-4F8C-96B1-A9A15E037881}" dt="2023-01-14T15:29:22.137" v="105" actId="1076"/>
        <pc:sldMkLst>
          <pc:docMk/>
          <pc:sldMk cId="3256182630" sldId="295"/>
        </pc:sldMkLst>
        <pc:picChg chg="del">
          <ac:chgData name="Roberto Gallardo" userId="49a044883f185952" providerId="LiveId" clId="{3DF3007B-9C7A-4F8C-96B1-A9A15E037881}" dt="2023-01-14T15:28:56.714" v="96" actId="478"/>
          <ac:picMkLst>
            <pc:docMk/>
            <pc:sldMk cId="3256182630" sldId="295"/>
            <ac:picMk id="6" creationId="{1702842D-CEA8-22EA-EB94-B22A16AB6736}"/>
          </ac:picMkLst>
        </pc:picChg>
        <pc:picChg chg="add mod">
          <ac:chgData name="Roberto Gallardo" userId="49a044883f185952" providerId="LiveId" clId="{3DF3007B-9C7A-4F8C-96B1-A9A15E037881}" dt="2023-01-14T15:29:22.137" v="105" actId="1076"/>
          <ac:picMkLst>
            <pc:docMk/>
            <pc:sldMk cId="3256182630" sldId="295"/>
            <ac:picMk id="7" creationId="{F5F485D3-05AE-5D7F-37DB-43ABCEBD3703}"/>
          </ac:picMkLst>
        </pc:picChg>
      </pc:sldChg>
      <pc:sldChg chg="addSp delSp modSp mod">
        <pc:chgData name="Roberto Gallardo" userId="49a044883f185952" providerId="LiveId" clId="{3DF3007B-9C7A-4F8C-96B1-A9A15E037881}" dt="2023-01-14T15:30:47.014" v="123" actId="1076"/>
        <pc:sldMkLst>
          <pc:docMk/>
          <pc:sldMk cId="4057156843" sldId="296"/>
        </pc:sldMkLst>
        <pc:graphicFrameChg chg="mod">
          <ac:chgData name="Roberto Gallardo" userId="49a044883f185952" providerId="LiveId" clId="{3DF3007B-9C7A-4F8C-96B1-A9A15E037881}" dt="2023-01-14T15:30:28.829" v="116"/>
          <ac:graphicFrameMkLst>
            <pc:docMk/>
            <pc:sldMk cId="4057156843" sldId="296"/>
            <ac:graphicFrameMk id="8" creationId="{D3B2E8D2-9CCD-964A-5CD5-9F743C3CE109}"/>
          </ac:graphicFrameMkLst>
        </pc:graphicFrameChg>
        <pc:picChg chg="add mod">
          <ac:chgData name="Roberto Gallardo" userId="49a044883f185952" providerId="LiveId" clId="{3DF3007B-9C7A-4F8C-96B1-A9A15E037881}" dt="2023-01-14T15:30:47.014" v="123" actId="1076"/>
          <ac:picMkLst>
            <pc:docMk/>
            <pc:sldMk cId="4057156843" sldId="296"/>
            <ac:picMk id="6" creationId="{C8B8A69D-FF68-B96E-56CB-FCCDC75BF626}"/>
          </ac:picMkLst>
        </pc:picChg>
        <pc:picChg chg="del">
          <ac:chgData name="Roberto Gallardo" userId="49a044883f185952" providerId="LiveId" clId="{3DF3007B-9C7A-4F8C-96B1-A9A15E037881}" dt="2023-01-14T15:29:36.791" v="106" actId="478"/>
          <ac:picMkLst>
            <pc:docMk/>
            <pc:sldMk cId="4057156843" sldId="296"/>
            <ac:picMk id="7" creationId="{03537EF1-AA28-12B3-A8B5-56716712F13E}"/>
          </ac:picMkLst>
        </pc:picChg>
      </pc:sldChg>
      <pc:sldChg chg="addSp delSp modSp mod">
        <pc:chgData name="Roberto Gallardo" userId="49a044883f185952" providerId="LiveId" clId="{3DF3007B-9C7A-4F8C-96B1-A9A15E037881}" dt="2023-01-14T15:27:32.674" v="86" actId="1035"/>
        <pc:sldMkLst>
          <pc:docMk/>
          <pc:sldMk cId="2080110827" sldId="297"/>
        </pc:sldMkLst>
        <pc:picChg chg="add mod">
          <ac:chgData name="Roberto Gallardo" userId="49a044883f185952" providerId="LiveId" clId="{3DF3007B-9C7A-4F8C-96B1-A9A15E037881}" dt="2023-01-14T15:27:32.674" v="86" actId="1035"/>
          <ac:picMkLst>
            <pc:docMk/>
            <pc:sldMk cId="2080110827" sldId="297"/>
            <ac:picMk id="6" creationId="{1889EED2-D6E5-E4E3-73B3-31E3AF9615E2}"/>
          </ac:picMkLst>
        </pc:picChg>
        <pc:picChg chg="del">
          <ac:chgData name="Roberto Gallardo" userId="49a044883f185952" providerId="LiveId" clId="{3DF3007B-9C7A-4F8C-96B1-A9A15E037881}" dt="2023-01-14T15:27:08.617" v="75" actId="478"/>
          <ac:picMkLst>
            <pc:docMk/>
            <pc:sldMk cId="2080110827" sldId="297"/>
            <ac:picMk id="7" creationId="{0388A1BD-F495-CF38-451C-2DAAAE28522D}"/>
          </ac:picMkLst>
        </pc:picChg>
      </pc:sldChg>
      <pc:sldChg chg="addSp delSp modSp mod">
        <pc:chgData name="Roberto Gallardo" userId="49a044883f185952" providerId="LiveId" clId="{3DF3007B-9C7A-4F8C-96B1-A9A15E037881}" dt="2023-01-14T15:27:03.672" v="74" actId="1036"/>
        <pc:sldMkLst>
          <pc:docMk/>
          <pc:sldMk cId="1532666867" sldId="298"/>
        </pc:sldMkLst>
        <pc:picChg chg="del">
          <ac:chgData name="Roberto Gallardo" userId="49a044883f185952" providerId="LiveId" clId="{3DF3007B-9C7A-4F8C-96B1-A9A15E037881}" dt="2023-01-14T15:26:33.936" v="61" actId="478"/>
          <ac:picMkLst>
            <pc:docMk/>
            <pc:sldMk cId="1532666867" sldId="298"/>
            <ac:picMk id="6" creationId="{F1EBB4A8-83F5-668F-D12B-3E393E0C0F7B}"/>
          </ac:picMkLst>
        </pc:picChg>
        <pc:picChg chg="add mod">
          <ac:chgData name="Roberto Gallardo" userId="49a044883f185952" providerId="LiveId" clId="{3DF3007B-9C7A-4F8C-96B1-A9A15E037881}" dt="2023-01-14T15:27:03.672" v="74" actId="1036"/>
          <ac:picMkLst>
            <pc:docMk/>
            <pc:sldMk cId="1532666867" sldId="298"/>
            <ac:picMk id="7" creationId="{EC553BCD-1BFE-BD14-331F-7EFEA6532C3B}"/>
          </ac:picMkLst>
        </pc:picChg>
      </pc:sldChg>
      <pc:sldChg chg="addSp delSp modSp add mod">
        <pc:chgData name="Roberto Gallardo" userId="49a044883f185952" providerId="LiveId" clId="{3DF3007B-9C7A-4F8C-96B1-A9A15E037881}" dt="2023-01-15T16:13:08.523" v="1392" actId="20577"/>
        <pc:sldMkLst>
          <pc:docMk/>
          <pc:sldMk cId="1951376777" sldId="299"/>
        </pc:sldMkLst>
        <pc:spChg chg="mod">
          <ac:chgData name="Roberto Gallardo" userId="49a044883f185952" providerId="LiveId" clId="{3DF3007B-9C7A-4F8C-96B1-A9A15E037881}" dt="2023-01-15T15:44:45.616" v="444" actId="20577"/>
          <ac:spMkLst>
            <pc:docMk/>
            <pc:sldMk cId="1951376777" sldId="299"/>
            <ac:spMk id="2" creationId="{C03B1400-5F72-D252-1DBE-EDCD6E63B07C}"/>
          </ac:spMkLst>
        </pc:spChg>
        <pc:spChg chg="mod">
          <ac:chgData name="Roberto Gallardo" userId="49a044883f185952" providerId="LiveId" clId="{3DF3007B-9C7A-4F8C-96B1-A9A15E037881}" dt="2023-01-15T16:13:08.523" v="1392" actId="20577"/>
          <ac:spMkLst>
            <pc:docMk/>
            <pc:sldMk cId="1951376777" sldId="299"/>
            <ac:spMk id="7" creationId="{51811D46-3545-CBB8-9C35-BAFF095496AA}"/>
          </ac:spMkLst>
        </pc:spChg>
        <pc:picChg chg="del">
          <ac:chgData name="Roberto Gallardo" userId="49a044883f185952" providerId="LiveId" clId="{3DF3007B-9C7A-4F8C-96B1-A9A15E037881}" dt="2023-01-15T15:44:51.439" v="445" actId="478"/>
          <ac:picMkLst>
            <pc:docMk/>
            <pc:sldMk cId="1951376777" sldId="299"/>
            <ac:picMk id="5" creationId="{D914859F-2C47-69E5-C8E5-153B565AD678}"/>
          </ac:picMkLst>
        </pc:picChg>
        <pc:picChg chg="add mod">
          <ac:chgData name="Roberto Gallardo" userId="49a044883f185952" providerId="LiveId" clId="{3DF3007B-9C7A-4F8C-96B1-A9A15E037881}" dt="2023-01-15T15:45:14.760" v="453" actId="1076"/>
          <ac:picMkLst>
            <pc:docMk/>
            <pc:sldMk cId="1951376777" sldId="299"/>
            <ac:picMk id="8" creationId="{E81B59CA-9234-ED7C-9930-EBA794BB9820}"/>
          </ac:picMkLst>
        </pc:picChg>
      </pc:sldChg>
      <pc:sldChg chg="add">
        <pc:chgData name="Roberto Gallardo" userId="49a044883f185952" providerId="LiveId" clId="{3DF3007B-9C7A-4F8C-96B1-A9A15E037881}" dt="2023-01-15T16:51:13.264" v="1395"/>
        <pc:sldMkLst>
          <pc:docMk/>
          <pc:sldMk cId="230398305" sldId="301"/>
        </pc:sldMkLst>
      </pc:sldChg>
    </pc:docChg>
  </pc:docChgLst>
  <pc:docChgLst>
    <pc:chgData name="Roberto Gallardo" userId="49a044883f185952" providerId="LiveId" clId="{F4D957F6-5F28-4DDF-9F2A-0CB3D547903A}"/>
    <pc:docChg chg="undo custSel addSld delSld modSld sldOrd">
      <pc:chgData name="Roberto Gallardo" userId="49a044883f185952" providerId="LiveId" clId="{F4D957F6-5F28-4DDF-9F2A-0CB3D547903A}" dt="2022-07-10T15:59:21.537" v="8244"/>
      <pc:docMkLst>
        <pc:docMk/>
      </pc:docMkLst>
      <pc:sldChg chg="addSp delSp modSp mod">
        <pc:chgData name="Roberto Gallardo" userId="49a044883f185952" providerId="LiveId" clId="{F4D957F6-5F28-4DDF-9F2A-0CB3D547903A}" dt="2022-07-09T12:40:22.696" v="7914" actId="6549"/>
        <pc:sldMkLst>
          <pc:docMk/>
          <pc:sldMk cId="2846901679" sldId="256"/>
        </pc:sldMkLst>
        <pc:spChg chg="add del mod">
          <ac:chgData name="Roberto Gallardo" userId="49a044883f185952" providerId="LiveId" clId="{F4D957F6-5F28-4DDF-9F2A-0CB3D547903A}" dt="2022-07-04T13:34:55.564" v="2" actId="478"/>
          <ac:spMkLst>
            <pc:docMk/>
            <pc:sldMk cId="2846901679" sldId="256"/>
            <ac:spMk id="5" creationId="{80F44228-1734-5C65-7A8F-D647FE8F9F7A}"/>
          </ac:spMkLst>
        </pc:spChg>
        <pc:spChg chg="add mod topLvl">
          <ac:chgData name="Roberto Gallardo" userId="49a044883f185952" providerId="LiveId" clId="{F4D957F6-5F28-4DDF-9F2A-0CB3D547903A}" dt="2022-07-04T13:38:04.288" v="228" actId="14100"/>
          <ac:spMkLst>
            <pc:docMk/>
            <pc:sldMk cId="2846901679" sldId="256"/>
            <ac:spMk id="6" creationId="{EC0D6789-6A37-0043-937E-6C3320ED0C53}"/>
          </ac:spMkLst>
        </pc:spChg>
        <pc:spChg chg="add mod topLvl">
          <ac:chgData name="Roberto Gallardo" userId="49a044883f185952" providerId="LiveId" clId="{F4D957F6-5F28-4DDF-9F2A-0CB3D547903A}" dt="2022-07-09T12:40:22.696" v="7914" actId="6549"/>
          <ac:spMkLst>
            <pc:docMk/>
            <pc:sldMk cId="2846901679" sldId="256"/>
            <ac:spMk id="7" creationId="{B1E0ABEC-554C-720A-2772-F0324C8E93CA}"/>
          </ac:spMkLst>
        </pc:spChg>
        <pc:grpChg chg="add del mod">
          <ac:chgData name="Roberto Gallardo" userId="49a044883f185952" providerId="LiveId" clId="{F4D957F6-5F28-4DDF-9F2A-0CB3D547903A}" dt="2022-07-04T13:38:00.995" v="227" actId="165"/>
          <ac:grpSpMkLst>
            <pc:docMk/>
            <pc:sldMk cId="2846901679" sldId="256"/>
            <ac:grpSpMk id="8" creationId="{A1F124F7-6BF9-29EA-3DFB-98E68EA6CDE3}"/>
          </ac:grpSpMkLst>
        </pc:grpChg>
        <pc:cxnChg chg="add mod">
          <ac:chgData name="Roberto Gallardo" userId="49a044883f185952" providerId="LiveId" clId="{F4D957F6-5F28-4DDF-9F2A-0CB3D547903A}" dt="2022-07-04T17:56:17.698" v="757" actId="1035"/>
          <ac:cxnSpMkLst>
            <pc:docMk/>
            <pc:sldMk cId="2846901679" sldId="256"/>
            <ac:cxnSpMk id="10" creationId="{13EFA7DF-2E74-6B37-435B-B8B810175C14}"/>
          </ac:cxnSpMkLst>
        </pc:cxnChg>
      </pc:sldChg>
      <pc:sldChg chg="addSp delSp modSp mod ord">
        <pc:chgData name="Roberto Gallardo" userId="49a044883f185952" providerId="LiveId" clId="{F4D957F6-5F28-4DDF-9F2A-0CB3D547903A}" dt="2022-07-09T11:55:07.064" v="2612"/>
        <pc:sldMkLst>
          <pc:docMk/>
          <pc:sldMk cId="3231157596" sldId="257"/>
        </pc:sldMkLst>
        <pc:spChg chg="mod">
          <ac:chgData name="Roberto Gallardo" userId="49a044883f185952" providerId="LiveId" clId="{F4D957F6-5F28-4DDF-9F2A-0CB3D547903A}" dt="2022-07-09T11:54:42.016" v="2593" actId="20577"/>
          <ac:spMkLst>
            <pc:docMk/>
            <pc:sldMk cId="3231157596" sldId="257"/>
            <ac:spMk id="2" creationId="{C03B1400-5F72-D252-1DBE-EDCD6E63B07C}"/>
          </ac:spMkLst>
        </pc:spChg>
        <pc:spChg chg="del">
          <ac:chgData name="Roberto Gallardo" userId="49a044883f185952" providerId="LiveId" clId="{F4D957F6-5F28-4DDF-9F2A-0CB3D547903A}" dt="2022-07-04T13:39:45.487" v="345" actId="1957"/>
          <ac:spMkLst>
            <pc:docMk/>
            <pc:sldMk cId="3231157596" sldId="257"/>
            <ac:spMk id="3" creationId="{BB89FF67-5405-7219-AC78-B72632AA2706}"/>
          </ac:spMkLst>
        </pc:spChg>
        <pc:spChg chg="add mod">
          <ac:chgData name="Roberto Gallardo" userId="49a044883f185952" providerId="LiveId" clId="{F4D957F6-5F28-4DDF-9F2A-0CB3D547903A}" dt="2022-07-04T13:41:42.746" v="397" actId="1076"/>
          <ac:spMkLst>
            <pc:docMk/>
            <pc:sldMk cId="3231157596" sldId="257"/>
            <ac:spMk id="8" creationId="{40AF43CC-DD34-B66D-2100-C70E6AB3ED53}"/>
          </ac:spMkLst>
        </pc:spChg>
        <pc:graphicFrameChg chg="add mod">
          <ac:chgData name="Roberto Gallardo" userId="49a044883f185952" providerId="LiveId" clId="{F4D957F6-5F28-4DDF-9F2A-0CB3D547903A}" dt="2022-07-05T23:58:48.836" v="1184" actId="14100"/>
          <ac:graphicFrameMkLst>
            <pc:docMk/>
            <pc:sldMk cId="3231157596" sldId="257"/>
            <ac:graphicFrameMk id="7" creationId="{9B61CC2F-17D9-E6A9-D1A8-11B47E6F047B}"/>
          </ac:graphicFrameMkLst>
        </pc:graphicFrameChg>
        <pc:picChg chg="add del mod">
          <ac:chgData name="Roberto Gallardo" userId="49a044883f185952" providerId="LiveId" clId="{F4D957F6-5F28-4DDF-9F2A-0CB3D547903A}" dt="2022-07-09T11:54:39.316" v="2585" actId="478"/>
          <ac:picMkLst>
            <pc:docMk/>
            <pc:sldMk cId="3231157596" sldId="257"/>
            <ac:picMk id="6" creationId="{A066F754-BB92-7857-D47A-698FA143DEC6}"/>
          </ac:picMkLst>
        </pc:picChg>
        <pc:picChg chg="add mod">
          <ac:chgData name="Roberto Gallardo" userId="49a044883f185952" providerId="LiveId" clId="{F4D957F6-5F28-4DDF-9F2A-0CB3D547903A}" dt="2022-07-09T11:55:07.064" v="2612"/>
          <ac:picMkLst>
            <pc:docMk/>
            <pc:sldMk cId="3231157596" sldId="257"/>
            <ac:picMk id="9" creationId="{4C80B7C1-B3BA-2E43-C7BF-799C557FB131}"/>
          </ac:picMkLst>
        </pc:picChg>
      </pc:sldChg>
      <pc:sldChg chg="new del">
        <pc:chgData name="Roberto Gallardo" userId="49a044883f185952" providerId="LiveId" clId="{F4D957F6-5F28-4DDF-9F2A-0CB3D547903A}" dt="2022-07-04T13:41:51.981" v="399" actId="47"/>
        <pc:sldMkLst>
          <pc:docMk/>
          <pc:sldMk cId="1694346498" sldId="258"/>
        </pc:sldMkLst>
      </pc:sldChg>
      <pc:sldChg chg="addSp delSp modSp add mod">
        <pc:chgData name="Roberto Gallardo" userId="49a044883f185952" providerId="LiveId" clId="{F4D957F6-5F28-4DDF-9F2A-0CB3D547903A}" dt="2022-07-09T11:55:09.178" v="2614"/>
        <pc:sldMkLst>
          <pc:docMk/>
          <pc:sldMk cId="3702837515" sldId="258"/>
        </pc:sldMkLst>
        <pc:spChg chg="mod">
          <ac:chgData name="Roberto Gallardo" userId="49a044883f185952" providerId="LiveId" clId="{F4D957F6-5F28-4DDF-9F2A-0CB3D547903A}" dt="2022-07-09T11:55:01.099" v="2611" actId="20577"/>
          <ac:spMkLst>
            <pc:docMk/>
            <pc:sldMk cId="3702837515" sldId="258"/>
            <ac:spMk id="2" creationId="{C03B1400-5F72-D252-1DBE-EDCD6E63B07C}"/>
          </ac:spMkLst>
        </pc:spChg>
        <pc:spChg chg="add del mod">
          <ac:chgData name="Roberto Gallardo" userId="49a044883f185952" providerId="LiveId" clId="{F4D957F6-5F28-4DDF-9F2A-0CB3D547903A}" dt="2022-07-04T14:05:16.775" v="615" actId="478"/>
          <ac:spMkLst>
            <pc:docMk/>
            <pc:sldMk cId="3702837515" sldId="258"/>
            <ac:spMk id="5" creationId="{F35BA5B5-F5A8-11C3-6476-93C43D67E9F8}"/>
          </ac:spMkLst>
        </pc:spChg>
        <pc:graphicFrameChg chg="del">
          <ac:chgData name="Roberto Gallardo" userId="49a044883f185952" providerId="LiveId" clId="{F4D957F6-5F28-4DDF-9F2A-0CB3D547903A}" dt="2022-07-04T14:05:04.265" v="612" actId="478"/>
          <ac:graphicFrameMkLst>
            <pc:docMk/>
            <pc:sldMk cId="3702837515" sldId="258"/>
            <ac:graphicFrameMk id="7" creationId="{9B61CC2F-17D9-E6A9-D1A8-11B47E6F047B}"/>
          </ac:graphicFrameMkLst>
        </pc:graphicFrameChg>
        <pc:graphicFrameChg chg="add mod ord">
          <ac:chgData name="Roberto Gallardo" userId="49a044883f185952" providerId="LiveId" clId="{F4D957F6-5F28-4DDF-9F2A-0CB3D547903A}" dt="2022-07-05T23:58:30.651" v="1172" actId="14100"/>
          <ac:graphicFrameMkLst>
            <pc:docMk/>
            <pc:sldMk cId="3702837515" sldId="258"/>
            <ac:graphicFrameMk id="9" creationId="{A966EEC7-83EF-771C-E559-BAB55F5A621C}"/>
          </ac:graphicFrameMkLst>
        </pc:graphicFrameChg>
        <pc:picChg chg="add del mod">
          <ac:chgData name="Roberto Gallardo" userId="49a044883f185952" providerId="LiveId" clId="{F4D957F6-5F28-4DDF-9F2A-0CB3D547903A}" dt="2022-07-09T11:54:58.115" v="2603" actId="478"/>
          <ac:picMkLst>
            <pc:docMk/>
            <pc:sldMk cId="3702837515" sldId="258"/>
            <ac:picMk id="6" creationId="{792D06A5-5E8D-87EF-CADE-3B4698056979}"/>
          </ac:picMkLst>
        </pc:picChg>
        <pc:picChg chg="add mod">
          <ac:chgData name="Roberto Gallardo" userId="49a044883f185952" providerId="LiveId" clId="{F4D957F6-5F28-4DDF-9F2A-0CB3D547903A}" dt="2022-07-09T11:55:09.178" v="2614"/>
          <ac:picMkLst>
            <pc:docMk/>
            <pc:sldMk cId="3702837515" sldId="258"/>
            <ac:picMk id="7" creationId="{3635A42C-C9F1-DAA3-7FE7-1EB8257A0E2E}"/>
          </ac:picMkLst>
        </pc:picChg>
      </pc:sldChg>
      <pc:sldChg chg="addSp delSp modSp add mod">
        <pc:chgData name="Roberto Gallardo" userId="49a044883f185952" providerId="LiveId" clId="{F4D957F6-5F28-4DDF-9F2A-0CB3D547903A}" dt="2022-07-09T11:55:08.354" v="2613"/>
        <pc:sldMkLst>
          <pc:docMk/>
          <pc:sldMk cId="2519083202" sldId="259"/>
        </pc:sldMkLst>
        <pc:spChg chg="mod">
          <ac:chgData name="Roberto Gallardo" userId="49a044883f185952" providerId="LiveId" clId="{F4D957F6-5F28-4DDF-9F2A-0CB3D547903A}" dt="2022-07-09T11:54:51.839" v="2602" actId="20577"/>
          <ac:spMkLst>
            <pc:docMk/>
            <pc:sldMk cId="2519083202" sldId="259"/>
            <ac:spMk id="2" creationId="{C03B1400-5F72-D252-1DBE-EDCD6E63B07C}"/>
          </ac:spMkLst>
        </pc:spChg>
        <pc:spChg chg="add del mod">
          <ac:chgData name="Roberto Gallardo" userId="49a044883f185952" providerId="LiveId" clId="{F4D957F6-5F28-4DDF-9F2A-0CB3D547903A}" dt="2022-07-04T14:05:26.242" v="617" actId="478"/>
          <ac:spMkLst>
            <pc:docMk/>
            <pc:sldMk cId="2519083202" sldId="259"/>
            <ac:spMk id="5" creationId="{E4522086-734A-4751-2DD8-F953C4A9B319}"/>
          </ac:spMkLst>
        </pc:spChg>
        <pc:graphicFrameChg chg="del">
          <ac:chgData name="Roberto Gallardo" userId="49a044883f185952" providerId="LiveId" clId="{F4D957F6-5F28-4DDF-9F2A-0CB3D547903A}" dt="2022-07-04T14:05:22.960" v="616" actId="478"/>
          <ac:graphicFrameMkLst>
            <pc:docMk/>
            <pc:sldMk cId="2519083202" sldId="259"/>
            <ac:graphicFrameMk id="7" creationId="{9B61CC2F-17D9-E6A9-D1A8-11B47E6F047B}"/>
          </ac:graphicFrameMkLst>
        </pc:graphicFrameChg>
        <pc:graphicFrameChg chg="add mod">
          <ac:chgData name="Roberto Gallardo" userId="49a044883f185952" providerId="LiveId" clId="{F4D957F6-5F28-4DDF-9F2A-0CB3D547903A}" dt="2022-07-05T23:58:39.611" v="1178" actId="14100"/>
          <ac:graphicFrameMkLst>
            <pc:docMk/>
            <pc:sldMk cId="2519083202" sldId="259"/>
            <ac:graphicFrameMk id="9" creationId="{BF6DEC76-8E72-6168-70C1-6709AC56F21B}"/>
          </ac:graphicFrameMkLst>
        </pc:graphicFrameChg>
        <pc:picChg chg="add del mod">
          <ac:chgData name="Roberto Gallardo" userId="49a044883f185952" providerId="LiveId" clId="{F4D957F6-5F28-4DDF-9F2A-0CB3D547903A}" dt="2022-07-09T11:54:48.226" v="2594" actId="478"/>
          <ac:picMkLst>
            <pc:docMk/>
            <pc:sldMk cId="2519083202" sldId="259"/>
            <ac:picMk id="6" creationId="{6381212E-2096-E773-174F-A570491440D3}"/>
          </ac:picMkLst>
        </pc:picChg>
        <pc:picChg chg="add mod">
          <ac:chgData name="Roberto Gallardo" userId="49a044883f185952" providerId="LiveId" clId="{F4D957F6-5F28-4DDF-9F2A-0CB3D547903A}" dt="2022-07-09T11:55:08.354" v="2613"/>
          <ac:picMkLst>
            <pc:docMk/>
            <pc:sldMk cId="2519083202" sldId="259"/>
            <ac:picMk id="7" creationId="{67FD3867-05D1-0561-5CAF-29C1272358C1}"/>
          </ac:picMkLst>
        </pc:picChg>
      </pc:sldChg>
      <pc:sldChg chg="addSp modSp add mod ord">
        <pc:chgData name="Roberto Gallardo" userId="49a044883f185952" providerId="LiveId" clId="{F4D957F6-5F28-4DDF-9F2A-0CB3D547903A}" dt="2022-07-09T14:08:09.643" v="8165" actId="27918"/>
        <pc:sldMkLst>
          <pc:docMk/>
          <pc:sldMk cId="3877078759" sldId="260"/>
        </pc:sldMkLst>
        <pc:spChg chg="mod">
          <ac:chgData name="Roberto Gallardo" userId="49a044883f185952" providerId="LiveId" clId="{F4D957F6-5F28-4DDF-9F2A-0CB3D547903A}" dt="2022-07-05T23:58:19.248" v="1165" actId="1035"/>
          <ac:spMkLst>
            <pc:docMk/>
            <pc:sldMk cId="3877078759" sldId="260"/>
            <ac:spMk id="2" creationId="{C03B1400-5F72-D252-1DBE-EDCD6E63B07C}"/>
          </ac:spMkLst>
        </pc:spChg>
        <pc:spChg chg="mod">
          <ac:chgData name="Roberto Gallardo" userId="49a044883f185952" providerId="LiveId" clId="{F4D957F6-5F28-4DDF-9F2A-0CB3D547903A}" dt="2022-07-04T14:03:41.734" v="601" actId="20577"/>
          <ac:spMkLst>
            <pc:docMk/>
            <pc:sldMk cId="3877078759" sldId="260"/>
            <ac:spMk id="8" creationId="{40AF43CC-DD34-B66D-2100-C70E6AB3ED53}"/>
          </ac:spMkLst>
        </pc:spChg>
        <pc:graphicFrameChg chg="mod">
          <ac:chgData name="Roberto Gallardo" userId="49a044883f185952" providerId="LiveId" clId="{F4D957F6-5F28-4DDF-9F2A-0CB3D547903A}" dt="2022-07-05T23:58:23.023" v="1166" actId="14100"/>
          <ac:graphicFrameMkLst>
            <pc:docMk/>
            <pc:sldMk cId="3877078759" sldId="260"/>
            <ac:graphicFrameMk id="7" creationId="{9B61CC2F-17D9-E6A9-D1A8-11B47E6F047B}"/>
          </ac:graphicFrameMkLst>
        </pc:graphicFrameChg>
        <pc:picChg chg="add mod ord">
          <ac:chgData name="Roberto Gallardo" userId="49a044883f185952" providerId="LiveId" clId="{F4D957F6-5F28-4DDF-9F2A-0CB3D547903A}" dt="2022-07-09T11:31:30.037" v="2096" actId="29295"/>
          <ac:picMkLst>
            <pc:docMk/>
            <pc:sldMk cId="3877078759" sldId="260"/>
            <ac:picMk id="6" creationId="{7454CA65-C29D-E836-52C1-21A108BA680B}"/>
          </ac:picMkLst>
        </pc:picChg>
      </pc:sldChg>
      <pc:sldChg chg="addSp delSp modSp add mod">
        <pc:chgData name="Roberto Gallardo" userId="49a044883f185952" providerId="LiveId" clId="{F4D957F6-5F28-4DDF-9F2A-0CB3D547903A}" dt="2022-07-09T11:54:28.530" v="2584"/>
        <pc:sldMkLst>
          <pc:docMk/>
          <pc:sldMk cId="1175010214" sldId="261"/>
        </pc:sldMkLst>
        <pc:spChg chg="mod">
          <ac:chgData name="Roberto Gallardo" userId="49a044883f185952" providerId="LiveId" clId="{F4D957F6-5F28-4DDF-9F2A-0CB3D547903A}" dt="2022-07-09T11:54:22.180" v="2583" actId="20577"/>
          <ac:spMkLst>
            <pc:docMk/>
            <pc:sldMk cId="1175010214" sldId="261"/>
            <ac:spMk id="2" creationId="{C03B1400-5F72-D252-1DBE-EDCD6E63B07C}"/>
          </ac:spMkLst>
        </pc:spChg>
        <pc:spChg chg="add del mod">
          <ac:chgData name="Roberto Gallardo" userId="49a044883f185952" providerId="LiveId" clId="{F4D957F6-5F28-4DDF-9F2A-0CB3D547903A}" dt="2022-07-04T19:52:10.731" v="813" actId="478"/>
          <ac:spMkLst>
            <pc:docMk/>
            <pc:sldMk cId="1175010214" sldId="261"/>
            <ac:spMk id="5" creationId="{F8729B19-6423-02C3-801F-FC09391B0E22}"/>
          </ac:spMkLst>
        </pc:spChg>
        <pc:graphicFrameChg chg="del">
          <ac:chgData name="Roberto Gallardo" userId="49a044883f185952" providerId="LiveId" clId="{F4D957F6-5F28-4DDF-9F2A-0CB3D547903A}" dt="2022-07-04T19:52:08.068" v="812" actId="478"/>
          <ac:graphicFrameMkLst>
            <pc:docMk/>
            <pc:sldMk cId="1175010214" sldId="261"/>
            <ac:graphicFrameMk id="7" creationId="{9B61CC2F-17D9-E6A9-D1A8-11B47E6F047B}"/>
          </ac:graphicFrameMkLst>
        </pc:graphicFrameChg>
        <pc:graphicFrameChg chg="add mod">
          <ac:chgData name="Roberto Gallardo" userId="49a044883f185952" providerId="LiveId" clId="{F4D957F6-5F28-4DDF-9F2A-0CB3D547903A}" dt="2022-07-05T23:58:58.484" v="1190" actId="14100"/>
          <ac:graphicFrameMkLst>
            <pc:docMk/>
            <pc:sldMk cId="1175010214" sldId="261"/>
            <ac:graphicFrameMk id="10" creationId="{FD2FC231-ACEF-5FF2-C4CE-DFF89EB85588}"/>
          </ac:graphicFrameMkLst>
        </pc:graphicFrameChg>
        <pc:picChg chg="add del mod">
          <ac:chgData name="Roberto Gallardo" userId="49a044883f185952" providerId="LiveId" clId="{F4D957F6-5F28-4DDF-9F2A-0CB3D547903A}" dt="2022-07-09T11:54:17.610" v="2579" actId="478"/>
          <ac:picMkLst>
            <pc:docMk/>
            <pc:sldMk cId="1175010214" sldId="261"/>
            <ac:picMk id="6" creationId="{F6A5490A-A5E9-61BB-9097-88457932C0C3}"/>
          </ac:picMkLst>
        </pc:picChg>
        <pc:picChg chg="add mod">
          <ac:chgData name="Roberto Gallardo" userId="49a044883f185952" providerId="LiveId" clId="{F4D957F6-5F28-4DDF-9F2A-0CB3D547903A}" dt="2022-07-09T11:54:28.530" v="2584"/>
          <ac:picMkLst>
            <pc:docMk/>
            <pc:sldMk cId="1175010214" sldId="261"/>
            <ac:picMk id="7" creationId="{A7EE6CAD-9CCE-2BE9-847E-C3EEA2C6DFDF}"/>
          </ac:picMkLst>
        </pc:picChg>
      </pc:sldChg>
      <pc:sldChg chg="new del">
        <pc:chgData name="Roberto Gallardo" userId="49a044883f185952" providerId="LiveId" clId="{F4D957F6-5F28-4DDF-9F2A-0CB3D547903A}" dt="2022-07-05T23:36:44.069" v="870" actId="47"/>
        <pc:sldMkLst>
          <pc:docMk/>
          <pc:sldMk cId="374676176" sldId="262"/>
        </pc:sldMkLst>
      </pc:sldChg>
      <pc:sldChg chg="addSp delSp modSp add del mod">
        <pc:chgData name="Roberto Gallardo" userId="49a044883f185952" providerId="LiveId" clId="{F4D957F6-5F28-4DDF-9F2A-0CB3D547903A}" dt="2022-07-04T23:52:27.439" v="868" actId="47"/>
        <pc:sldMkLst>
          <pc:docMk/>
          <pc:sldMk cId="2406181170" sldId="262"/>
        </pc:sldMkLst>
        <pc:graphicFrameChg chg="del">
          <ac:chgData name="Roberto Gallardo" userId="49a044883f185952" providerId="LiveId" clId="{F4D957F6-5F28-4DDF-9F2A-0CB3D547903A}" dt="2022-07-04T20:37:30.519" v="864" actId="478"/>
          <ac:graphicFrameMkLst>
            <pc:docMk/>
            <pc:sldMk cId="2406181170" sldId="262"/>
            <ac:graphicFrameMk id="10" creationId="{FD2FC231-ACEF-5FF2-C4CE-DFF89EB85588}"/>
          </ac:graphicFrameMkLst>
        </pc:graphicFrameChg>
        <pc:picChg chg="add del mod">
          <ac:chgData name="Roberto Gallardo" userId="49a044883f185952" providerId="LiveId" clId="{F4D957F6-5F28-4DDF-9F2A-0CB3D547903A}" dt="2022-07-04T20:37:37.475" v="867" actId="478"/>
          <ac:picMkLst>
            <pc:docMk/>
            <pc:sldMk cId="2406181170" sldId="262"/>
            <ac:picMk id="5" creationId="{DBDCDB6D-D59A-1816-23E8-1A051896D947}"/>
          </ac:picMkLst>
        </pc:picChg>
      </pc:sldChg>
      <pc:sldChg chg="addSp delSp modSp add mod">
        <pc:chgData name="Roberto Gallardo" userId="49a044883f185952" providerId="LiveId" clId="{F4D957F6-5F28-4DDF-9F2A-0CB3D547903A}" dt="2022-07-09T15:00:57.360" v="8199"/>
        <pc:sldMkLst>
          <pc:docMk/>
          <pc:sldMk cId="3490389620" sldId="262"/>
        </pc:sldMkLst>
        <pc:spChg chg="mod">
          <ac:chgData name="Roberto Gallardo" userId="49a044883f185952" providerId="LiveId" clId="{F4D957F6-5F28-4DDF-9F2A-0CB3D547903A}" dt="2022-07-05T23:59:09.167" v="1195" actId="1035"/>
          <ac:spMkLst>
            <pc:docMk/>
            <pc:sldMk cId="3490389620" sldId="262"/>
            <ac:spMk id="2" creationId="{C03B1400-5F72-D252-1DBE-EDCD6E63B07C}"/>
          </ac:spMkLst>
        </pc:spChg>
        <pc:graphicFrameChg chg="del">
          <ac:chgData name="Roberto Gallardo" userId="49a044883f185952" providerId="LiveId" clId="{F4D957F6-5F28-4DDF-9F2A-0CB3D547903A}" dt="2022-07-05T23:36:50.780" v="872" actId="478"/>
          <ac:graphicFrameMkLst>
            <pc:docMk/>
            <pc:sldMk cId="3490389620" sldId="262"/>
            <ac:graphicFrameMk id="10" creationId="{FD2FC231-ACEF-5FF2-C4CE-DFF89EB85588}"/>
          </ac:graphicFrameMkLst>
        </pc:graphicFrameChg>
        <pc:graphicFrameChg chg="add mod">
          <ac:chgData name="Roberto Gallardo" userId="49a044883f185952" providerId="LiveId" clId="{F4D957F6-5F28-4DDF-9F2A-0CB3D547903A}" dt="2022-07-05T23:47:46.159" v="965" actId="14100"/>
          <ac:graphicFrameMkLst>
            <pc:docMk/>
            <pc:sldMk cId="3490389620" sldId="262"/>
            <ac:graphicFrameMk id="12" creationId="{DABF0741-AD27-F6EC-F006-1930AC38E762}"/>
          </ac:graphicFrameMkLst>
        </pc:graphicFrameChg>
        <pc:picChg chg="add del mod">
          <ac:chgData name="Roberto Gallardo" userId="49a044883f185952" providerId="LiveId" clId="{F4D957F6-5F28-4DDF-9F2A-0CB3D547903A}" dt="2022-07-05T23:39:47.371" v="922" actId="478"/>
          <ac:picMkLst>
            <pc:docMk/>
            <pc:sldMk cId="3490389620" sldId="262"/>
            <ac:picMk id="5" creationId="{AACA0CCE-BC2B-2BF5-977B-B9460A4BA9E4}"/>
          </ac:picMkLst>
        </pc:picChg>
        <pc:picChg chg="add del mod">
          <ac:chgData name="Roberto Gallardo" userId="49a044883f185952" providerId="LiveId" clId="{F4D957F6-5F28-4DDF-9F2A-0CB3D547903A}" dt="2022-07-09T14:56:13.616" v="8180" actId="478"/>
          <ac:picMkLst>
            <pc:docMk/>
            <pc:sldMk cId="3490389620" sldId="262"/>
            <ac:picMk id="7" creationId="{05BEC296-D136-61E4-9645-991475DD4033}"/>
          </ac:picMkLst>
        </pc:picChg>
        <pc:picChg chg="add del mod ord">
          <ac:chgData name="Roberto Gallardo" userId="49a044883f185952" providerId="LiveId" clId="{F4D957F6-5F28-4DDF-9F2A-0CB3D547903A}" dt="2022-07-05T23:54:55.571" v="1086" actId="478"/>
          <ac:picMkLst>
            <pc:docMk/>
            <pc:sldMk cId="3490389620" sldId="262"/>
            <ac:picMk id="7" creationId="{0F2FC452-A036-55DB-A45E-B0BD71C927E0}"/>
          </ac:picMkLst>
        </pc:picChg>
        <pc:picChg chg="add mod">
          <ac:chgData name="Roberto Gallardo" userId="49a044883f185952" providerId="LiveId" clId="{F4D957F6-5F28-4DDF-9F2A-0CB3D547903A}" dt="2022-07-09T15:00:57.360" v="8199"/>
          <ac:picMkLst>
            <pc:docMk/>
            <pc:sldMk cId="3490389620" sldId="262"/>
            <ac:picMk id="9" creationId="{40A36035-9B52-D1D4-A560-EC18D0BAF6E7}"/>
          </ac:picMkLst>
        </pc:picChg>
        <pc:picChg chg="add del mod">
          <ac:chgData name="Roberto Gallardo" userId="49a044883f185952" providerId="LiveId" clId="{F4D957F6-5F28-4DDF-9F2A-0CB3D547903A}" dt="2022-07-06T00:00:21.051" v="1201" actId="478"/>
          <ac:picMkLst>
            <pc:docMk/>
            <pc:sldMk cId="3490389620" sldId="262"/>
            <ac:picMk id="14" creationId="{DAB8A7CB-284C-E555-E0FE-AED8C5C708FC}"/>
          </ac:picMkLst>
        </pc:picChg>
        <pc:picChg chg="add mod">
          <ac:chgData name="Roberto Gallardo" userId="49a044883f185952" providerId="LiveId" clId="{F4D957F6-5F28-4DDF-9F2A-0CB3D547903A}" dt="2022-07-06T00:01:36.275" v="1266" actId="1038"/>
          <ac:picMkLst>
            <pc:docMk/>
            <pc:sldMk cId="3490389620" sldId="262"/>
            <ac:picMk id="16" creationId="{532B7758-F2FB-D91F-D115-90D2274360A1}"/>
          </ac:picMkLst>
        </pc:picChg>
      </pc:sldChg>
      <pc:sldChg chg="addSp delSp modSp add mod">
        <pc:chgData name="Roberto Gallardo" userId="49a044883f185952" providerId="LiveId" clId="{F4D957F6-5F28-4DDF-9F2A-0CB3D547903A}" dt="2022-07-09T15:02:33.224" v="8212"/>
        <pc:sldMkLst>
          <pc:docMk/>
          <pc:sldMk cId="77472702" sldId="263"/>
        </pc:sldMkLst>
        <pc:spChg chg="mod">
          <ac:chgData name="Roberto Gallardo" userId="49a044883f185952" providerId="LiveId" clId="{F4D957F6-5F28-4DDF-9F2A-0CB3D547903A}" dt="2022-07-05T23:59:14.066" v="1200" actId="1035"/>
          <ac:spMkLst>
            <pc:docMk/>
            <pc:sldMk cId="77472702" sldId="263"/>
            <ac:spMk id="2" creationId="{C03B1400-5F72-D252-1DBE-EDCD6E63B07C}"/>
          </ac:spMkLst>
        </pc:spChg>
        <pc:picChg chg="add mod">
          <ac:chgData name="Roberto Gallardo" userId="49a044883f185952" providerId="LiveId" clId="{F4D957F6-5F28-4DDF-9F2A-0CB3D547903A}" dt="2022-07-09T15:02:26.688" v="8211" actId="1038"/>
          <ac:picMkLst>
            <pc:docMk/>
            <pc:sldMk cId="77472702" sldId="263"/>
            <ac:picMk id="5" creationId="{303AB224-E49B-E891-8C0A-4A735046CFEA}"/>
          </ac:picMkLst>
        </pc:picChg>
        <pc:picChg chg="add del mod">
          <ac:chgData name="Roberto Gallardo" userId="49a044883f185952" providerId="LiveId" clId="{F4D957F6-5F28-4DDF-9F2A-0CB3D547903A}" dt="2022-07-05T23:53:47.139" v="1028" actId="478"/>
          <ac:picMkLst>
            <pc:docMk/>
            <pc:sldMk cId="77472702" sldId="263"/>
            <ac:picMk id="5" creationId="{740E0DC0-2CE3-886F-3E34-286C9D9408DC}"/>
          </ac:picMkLst>
        </pc:picChg>
        <pc:picChg chg="add del mod">
          <ac:chgData name="Roberto Gallardo" userId="49a044883f185952" providerId="LiveId" clId="{F4D957F6-5F28-4DDF-9F2A-0CB3D547903A}" dt="2022-07-09T14:56:15.666" v="8181" actId="478"/>
          <ac:picMkLst>
            <pc:docMk/>
            <pc:sldMk cId="77472702" sldId="263"/>
            <ac:picMk id="7" creationId="{097170E3-8F85-A0B5-51FE-1F6BF9C95AC3}"/>
          </ac:picMkLst>
        </pc:picChg>
        <pc:picChg chg="del">
          <ac:chgData name="Roberto Gallardo" userId="49a044883f185952" providerId="LiveId" clId="{F4D957F6-5F28-4DDF-9F2A-0CB3D547903A}" dt="2022-07-05T23:49:13.216" v="985" actId="478"/>
          <ac:picMkLst>
            <pc:docMk/>
            <pc:sldMk cId="77472702" sldId="263"/>
            <ac:picMk id="7" creationId="{0F2FC452-A036-55DB-A45E-B0BD71C927E0}"/>
          </ac:picMkLst>
        </pc:picChg>
        <pc:picChg chg="add del mod">
          <ac:chgData name="Roberto Gallardo" userId="49a044883f185952" providerId="LiveId" clId="{F4D957F6-5F28-4DDF-9F2A-0CB3D547903A}" dt="2022-07-09T15:01:31.002" v="8200" actId="478"/>
          <ac:picMkLst>
            <pc:docMk/>
            <pc:sldMk cId="77472702" sldId="263"/>
            <ac:picMk id="9" creationId="{1B0BC584-9937-A428-5CAB-14C5213AF2AA}"/>
          </ac:picMkLst>
        </pc:picChg>
        <pc:picChg chg="add mod">
          <ac:chgData name="Roberto Gallardo" userId="49a044883f185952" providerId="LiveId" clId="{F4D957F6-5F28-4DDF-9F2A-0CB3D547903A}" dt="2022-07-09T15:02:33.224" v="8212"/>
          <ac:picMkLst>
            <pc:docMk/>
            <pc:sldMk cId="77472702" sldId="263"/>
            <ac:picMk id="10" creationId="{E3CBDF83-C9E0-8DEA-6624-BCD9FB8AFD58}"/>
          </ac:picMkLst>
        </pc:picChg>
      </pc:sldChg>
      <pc:sldChg chg="addSp delSp modSp add mod">
        <pc:chgData name="Roberto Gallardo" userId="49a044883f185952" providerId="LiveId" clId="{F4D957F6-5F28-4DDF-9F2A-0CB3D547903A}" dt="2022-07-09T15:04:25.416" v="8231"/>
        <pc:sldMkLst>
          <pc:docMk/>
          <pc:sldMk cId="1409358877" sldId="264"/>
        </pc:sldMkLst>
        <pc:spChg chg="mod">
          <ac:chgData name="Roberto Gallardo" userId="49a044883f185952" providerId="LiveId" clId="{F4D957F6-5F28-4DDF-9F2A-0CB3D547903A}" dt="2022-07-06T00:04:10.710" v="1285" actId="20577"/>
          <ac:spMkLst>
            <pc:docMk/>
            <pc:sldMk cId="1409358877" sldId="264"/>
            <ac:spMk id="2" creationId="{C03B1400-5F72-D252-1DBE-EDCD6E63B07C}"/>
          </ac:spMkLst>
        </pc:spChg>
        <pc:picChg chg="add del mod">
          <ac:chgData name="Roberto Gallardo" userId="49a044883f185952" providerId="LiveId" clId="{F4D957F6-5F28-4DDF-9F2A-0CB3D547903A}" dt="2022-07-09T15:03:45.536" v="8220" actId="478"/>
          <ac:picMkLst>
            <pc:docMk/>
            <pc:sldMk cId="1409358877" sldId="264"/>
            <ac:picMk id="5" creationId="{5A13C3AD-A815-DC65-CF6C-5595609406F4}"/>
          </ac:picMkLst>
        </pc:picChg>
        <pc:picChg chg="add mod">
          <ac:chgData name="Roberto Gallardo" userId="49a044883f185952" providerId="LiveId" clId="{F4D957F6-5F28-4DDF-9F2A-0CB3D547903A}" dt="2022-07-09T15:04:18.992" v="8230" actId="1038"/>
          <ac:picMkLst>
            <pc:docMk/>
            <pc:sldMk cId="1409358877" sldId="264"/>
            <ac:picMk id="6" creationId="{817F9E4A-4025-B392-AFF8-B9D5E4039647}"/>
          </ac:picMkLst>
        </pc:picChg>
        <pc:picChg chg="add del mod">
          <ac:chgData name="Roberto Gallardo" userId="49a044883f185952" providerId="LiveId" clId="{F4D957F6-5F28-4DDF-9F2A-0CB3D547903A}" dt="2022-07-09T15:02:37.400" v="8213" actId="478"/>
          <ac:picMkLst>
            <pc:docMk/>
            <pc:sldMk cId="1409358877" sldId="264"/>
            <ac:picMk id="7" creationId="{FE5BA307-5820-82B8-8DB0-C5B1DFF2F359}"/>
          </ac:picMkLst>
        </pc:picChg>
        <pc:picChg chg="del">
          <ac:chgData name="Roberto Gallardo" userId="49a044883f185952" providerId="LiveId" clId="{F4D957F6-5F28-4DDF-9F2A-0CB3D547903A}" dt="2022-07-06T00:05:54.775" v="1286" actId="478"/>
          <ac:picMkLst>
            <pc:docMk/>
            <pc:sldMk cId="1409358877" sldId="264"/>
            <ac:picMk id="9" creationId="{1B0BC584-9937-A428-5CAB-14C5213AF2AA}"/>
          </ac:picMkLst>
        </pc:picChg>
        <pc:picChg chg="add mod">
          <ac:chgData name="Roberto Gallardo" userId="49a044883f185952" providerId="LiveId" clId="{F4D957F6-5F28-4DDF-9F2A-0CB3D547903A}" dt="2022-07-09T15:04:25.416" v="8231"/>
          <ac:picMkLst>
            <pc:docMk/>
            <pc:sldMk cId="1409358877" sldId="264"/>
            <ac:picMk id="10" creationId="{4FA3A5ED-9527-3CBE-0201-008BF921D18E}"/>
          </ac:picMkLst>
        </pc:picChg>
      </pc:sldChg>
      <pc:sldChg chg="addSp delSp modSp add mod">
        <pc:chgData name="Roberto Gallardo" userId="49a044883f185952" providerId="LiveId" clId="{F4D957F6-5F28-4DDF-9F2A-0CB3D547903A}" dt="2022-07-09T15:05:04.400" v="8232"/>
        <pc:sldMkLst>
          <pc:docMk/>
          <pc:sldMk cId="2546441270" sldId="265"/>
        </pc:sldMkLst>
        <pc:spChg chg="mod">
          <ac:chgData name="Roberto Gallardo" userId="49a044883f185952" providerId="LiveId" clId="{F4D957F6-5F28-4DDF-9F2A-0CB3D547903A}" dt="2022-07-06T00:09:26.194" v="1363" actId="20577"/>
          <ac:spMkLst>
            <pc:docMk/>
            <pc:sldMk cId="2546441270" sldId="265"/>
            <ac:spMk id="2" creationId="{C03B1400-5F72-D252-1DBE-EDCD6E63B07C}"/>
          </ac:spMkLst>
        </pc:spChg>
        <pc:picChg chg="del">
          <ac:chgData name="Roberto Gallardo" userId="49a044883f185952" providerId="LiveId" clId="{F4D957F6-5F28-4DDF-9F2A-0CB3D547903A}" dt="2022-07-06T00:11:28.158" v="1369" actId="478"/>
          <ac:picMkLst>
            <pc:docMk/>
            <pc:sldMk cId="2546441270" sldId="265"/>
            <ac:picMk id="5" creationId="{5A13C3AD-A815-DC65-CF6C-5595609406F4}"/>
          </ac:picMkLst>
        </pc:picChg>
        <pc:picChg chg="add mod">
          <ac:chgData name="Roberto Gallardo" userId="49a044883f185952" providerId="LiveId" clId="{F4D957F6-5F28-4DDF-9F2A-0CB3D547903A}" dt="2022-07-06T22:26:18.291" v="1515" actId="1038"/>
          <ac:picMkLst>
            <pc:docMk/>
            <pc:sldMk cId="2546441270" sldId="265"/>
            <ac:picMk id="6" creationId="{B3E748F8-FB72-5130-50B9-55FFFF992B0F}"/>
          </ac:picMkLst>
        </pc:picChg>
        <pc:picChg chg="add del mod">
          <ac:chgData name="Roberto Gallardo" userId="49a044883f185952" providerId="LiveId" clId="{F4D957F6-5F28-4DDF-9F2A-0CB3D547903A}" dt="2022-07-09T15:02:40.416" v="8214" actId="478"/>
          <ac:picMkLst>
            <pc:docMk/>
            <pc:sldMk cId="2546441270" sldId="265"/>
            <ac:picMk id="7" creationId="{9F8E6FF6-1987-2E62-8145-F2E24A6FF961}"/>
          </ac:picMkLst>
        </pc:picChg>
        <pc:picChg chg="add mod">
          <ac:chgData name="Roberto Gallardo" userId="49a044883f185952" providerId="LiveId" clId="{F4D957F6-5F28-4DDF-9F2A-0CB3D547903A}" dt="2022-07-09T15:05:04.400" v="8232"/>
          <ac:picMkLst>
            <pc:docMk/>
            <pc:sldMk cId="2546441270" sldId="265"/>
            <ac:picMk id="9" creationId="{47CC0AA5-019F-7850-820E-5AEDCC3CAAD7}"/>
          </ac:picMkLst>
        </pc:picChg>
      </pc:sldChg>
      <pc:sldChg chg="addSp delSp modSp add mod">
        <pc:chgData name="Roberto Gallardo" userId="49a044883f185952" providerId="LiveId" clId="{F4D957F6-5F28-4DDF-9F2A-0CB3D547903A}" dt="2022-07-09T15:05:17.314" v="8233"/>
        <pc:sldMkLst>
          <pc:docMk/>
          <pc:sldMk cId="3919704792" sldId="266"/>
        </pc:sldMkLst>
        <pc:spChg chg="mod">
          <ac:chgData name="Roberto Gallardo" userId="49a044883f185952" providerId="LiveId" clId="{F4D957F6-5F28-4DDF-9F2A-0CB3D547903A}" dt="2022-07-06T22:23:17.167" v="1442" actId="27636"/>
          <ac:spMkLst>
            <pc:docMk/>
            <pc:sldMk cId="3919704792" sldId="266"/>
            <ac:spMk id="2" creationId="{C03B1400-5F72-D252-1DBE-EDCD6E63B07C}"/>
          </ac:spMkLst>
        </pc:spChg>
        <pc:picChg chg="add mod">
          <ac:chgData name="Roberto Gallardo" userId="49a044883f185952" providerId="LiveId" clId="{F4D957F6-5F28-4DDF-9F2A-0CB3D547903A}" dt="2022-07-06T22:24:12.291" v="1508" actId="1037"/>
          <ac:picMkLst>
            <pc:docMk/>
            <pc:sldMk cId="3919704792" sldId="266"/>
            <ac:picMk id="5" creationId="{088843C9-77E3-805A-9179-C1A1C9A9F778}"/>
          </ac:picMkLst>
        </pc:picChg>
        <pc:picChg chg="del">
          <ac:chgData name="Roberto Gallardo" userId="49a044883f185952" providerId="LiveId" clId="{F4D957F6-5F28-4DDF-9F2A-0CB3D547903A}" dt="2022-07-06T22:23:19.507" v="1443" actId="478"/>
          <ac:picMkLst>
            <pc:docMk/>
            <pc:sldMk cId="3919704792" sldId="266"/>
            <ac:picMk id="6" creationId="{B3E748F8-FB72-5130-50B9-55FFFF992B0F}"/>
          </ac:picMkLst>
        </pc:picChg>
        <pc:picChg chg="add del mod">
          <ac:chgData name="Roberto Gallardo" userId="49a044883f185952" providerId="LiveId" clId="{F4D957F6-5F28-4DDF-9F2A-0CB3D547903A}" dt="2022-07-09T15:02:42.281" v="8215" actId="478"/>
          <ac:picMkLst>
            <pc:docMk/>
            <pc:sldMk cId="3919704792" sldId="266"/>
            <ac:picMk id="7" creationId="{6CDE2789-26E2-7824-452C-DFD126337BBE}"/>
          </ac:picMkLst>
        </pc:picChg>
        <pc:picChg chg="add mod">
          <ac:chgData name="Roberto Gallardo" userId="49a044883f185952" providerId="LiveId" clId="{F4D957F6-5F28-4DDF-9F2A-0CB3D547903A}" dt="2022-07-09T15:05:17.314" v="8233"/>
          <ac:picMkLst>
            <pc:docMk/>
            <pc:sldMk cId="3919704792" sldId="266"/>
            <ac:picMk id="9" creationId="{9D726E44-68DE-8DC8-AE6E-567EAB42D17E}"/>
          </ac:picMkLst>
        </pc:picChg>
      </pc:sldChg>
      <pc:sldChg chg="add del ord">
        <pc:chgData name="Roberto Gallardo" userId="49a044883f185952" providerId="LiveId" clId="{F4D957F6-5F28-4DDF-9F2A-0CB3D547903A}" dt="2022-07-06T22:27:48.120" v="1519" actId="47"/>
        <pc:sldMkLst>
          <pc:docMk/>
          <pc:sldMk cId="467201158" sldId="267"/>
        </pc:sldMkLst>
      </pc:sldChg>
      <pc:sldChg chg="addSp delSp modSp add mod">
        <pc:chgData name="Roberto Gallardo" userId="49a044883f185952" providerId="LiveId" clId="{F4D957F6-5F28-4DDF-9F2A-0CB3D547903A}" dt="2022-07-09T15:05:31.574" v="8234"/>
        <pc:sldMkLst>
          <pc:docMk/>
          <pc:sldMk cId="4158874625" sldId="267"/>
        </pc:sldMkLst>
        <pc:spChg chg="mod">
          <ac:chgData name="Roberto Gallardo" userId="49a044883f185952" providerId="LiveId" clId="{F4D957F6-5F28-4DDF-9F2A-0CB3D547903A}" dt="2022-07-09T11:33:09.834" v="2182" actId="27636"/>
          <ac:spMkLst>
            <pc:docMk/>
            <pc:sldMk cId="4158874625" sldId="267"/>
            <ac:spMk id="2" creationId="{C03B1400-5F72-D252-1DBE-EDCD6E63B07C}"/>
          </ac:spMkLst>
        </pc:spChg>
        <pc:picChg chg="del">
          <ac:chgData name="Roberto Gallardo" userId="49a044883f185952" providerId="LiveId" clId="{F4D957F6-5F28-4DDF-9F2A-0CB3D547903A}" dt="2022-07-06T22:29:38.567" v="1554" actId="478"/>
          <ac:picMkLst>
            <pc:docMk/>
            <pc:sldMk cId="4158874625" sldId="267"/>
            <ac:picMk id="5" creationId="{088843C9-77E3-805A-9179-C1A1C9A9F778}"/>
          </ac:picMkLst>
        </pc:picChg>
        <pc:picChg chg="add del mod">
          <ac:chgData name="Roberto Gallardo" userId="49a044883f185952" providerId="LiveId" clId="{F4D957F6-5F28-4DDF-9F2A-0CB3D547903A}" dt="2022-07-06T22:30:25.055" v="1558" actId="478"/>
          <ac:picMkLst>
            <pc:docMk/>
            <pc:sldMk cId="4158874625" sldId="267"/>
            <ac:picMk id="6" creationId="{40ADAB00-C766-49C1-DC48-033C64C08FFD}"/>
          </ac:picMkLst>
        </pc:picChg>
        <pc:picChg chg="add del mod ord">
          <ac:chgData name="Roberto Gallardo" userId="49a044883f185952" providerId="LiveId" clId="{F4D957F6-5F28-4DDF-9F2A-0CB3D547903A}" dt="2022-07-09T11:32:52.656" v="2137" actId="478"/>
          <ac:picMkLst>
            <pc:docMk/>
            <pc:sldMk cId="4158874625" sldId="267"/>
            <ac:picMk id="7" creationId="{D2B795A0-9033-66D2-2D82-971B35A8C5F1}"/>
          </ac:picMkLst>
        </pc:picChg>
        <pc:picChg chg="add mod">
          <ac:chgData name="Roberto Gallardo" userId="49a044883f185952" providerId="LiveId" clId="{F4D957F6-5F28-4DDF-9F2A-0CB3D547903A}" dt="2022-07-06T22:33:03.484" v="1607" actId="1037"/>
          <ac:picMkLst>
            <pc:docMk/>
            <pc:sldMk cId="4158874625" sldId="267"/>
            <ac:picMk id="9" creationId="{A23C3077-18F4-D986-FD73-9EEB38CBB4EF}"/>
          </ac:picMkLst>
        </pc:picChg>
        <pc:picChg chg="add del mod">
          <ac:chgData name="Roberto Gallardo" userId="49a044883f185952" providerId="LiveId" clId="{F4D957F6-5F28-4DDF-9F2A-0CB3D547903A}" dt="2022-07-09T15:02:45.048" v="8216" actId="478"/>
          <ac:picMkLst>
            <pc:docMk/>
            <pc:sldMk cId="4158874625" sldId="267"/>
            <ac:picMk id="10" creationId="{B756D1CE-7117-61AF-3328-8DE390EED365}"/>
          </ac:picMkLst>
        </pc:picChg>
        <pc:picChg chg="add mod">
          <ac:chgData name="Roberto Gallardo" userId="49a044883f185952" providerId="LiveId" clId="{F4D957F6-5F28-4DDF-9F2A-0CB3D547903A}" dt="2022-07-09T15:05:31.574" v="8234"/>
          <ac:picMkLst>
            <pc:docMk/>
            <pc:sldMk cId="4158874625" sldId="267"/>
            <ac:picMk id="11" creationId="{03B00FBA-506B-D928-E948-13F88F6B8557}"/>
          </ac:picMkLst>
        </pc:picChg>
      </pc:sldChg>
      <pc:sldChg chg="addSp delSp modSp add mod">
        <pc:chgData name="Roberto Gallardo" userId="49a044883f185952" providerId="LiveId" clId="{F4D957F6-5F28-4DDF-9F2A-0CB3D547903A}" dt="2022-07-10T15:59:21.537" v="8244"/>
        <pc:sldMkLst>
          <pc:docMk/>
          <pc:sldMk cId="2670791091" sldId="268"/>
        </pc:sldMkLst>
        <pc:spChg chg="mod">
          <ac:chgData name="Roberto Gallardo" userId="49a044883f185952" providerId="LiveId" clId="{F4D957F6-5F28-4DDF-9F2A-0CB3D547903A}" dt="2022-07-09T11:33:25.558" v="2199" actId="27636"/>
          <ac:spMkLst>
            <pc:docMk/>
            <pc:sldMk cId="2670791091" sldId="268"/>
            <ac:spMk id="2" creationId="{C03B1400-5F72-D252-1DBE-EDCD6E63B07C}"/>
          </ac:spMkLst>
        </pc:spChg>
        <pc:picChg chg="add mod">
          <ac:chgData name="Roberto Gallardo" userId="49a044883f185952" providerId="LiveId" clId="{F4D957F6-5F28-4DDF-9F2A-0CB3D547903A}" dt="2022-07-06T22:37:05.395" v="1695" actId="1038"/>
          <ac:picMkLst>
            <pc:docMk/>
            <pc:sldMk cId="2670791091" sldId="268"/>
            <ac:picMk id="5" creationId="{BC0DDB0A-24DE-355E-1DCE-546916112ABB}"/>
          </ac:picMkLst>
        </pc:picChg>
        <pc:picChg chg="add del mod">
          <ac:chgData name="Roberto Gallardo" userId="49a044883f185952" providerId="LiveId" clId="{F4D957F6-5F28-4DDF-9F2A-0CB3D547903A}" dt="2022-07-09T11:33:17.296" v="2184" actId="478"/>
          <ac:picMkLst>
            <pc:docMk/>
            <pc:sldMk cId="2670791091" sldId="268"/>
            <ac:picMk id="7" creationId="{1EEB24BD-AB72-C87D-897E-5EF2BB4DF3DF}"/>
          </ac:picMkLst>
        </pc:picChg>
        <pc:picChg chg="add del mod">
          <ac:chgData name="Roberto Gallardo" userId="49a044883f185952" providerId="LiveId" clId="{F4D957F6-5F28-4DDF-9F2A-0CB3D547903A}" dt="2022-07-09T15:02:47.496" v="8217" actId="478"/>
          <ac:picMkLst>
            <pc:docMk/>
            <pc:sldMk cId="2670791091" sldId="268"/>
            <ac:picMk id="9" creationId="{07233C83-1BED-5EDF-6C95-96FAB7C256F2}"/>
          </ac:picMkLst>
        </pc:picChg>
        <pc:picChg chg="add mod">
          <ac:chgData name="Roberto Gallardo" userId="49a044883f185952" providerId="LiveId" clId="{F4D957F6-5F28-4DDF-9F2A-0CB3D547903A}" dt="2022-07-10T15:59:21.537" v="8244"/>
          <ac:picMkLst>
            <pc:docMk/>
            <pc:sldMk cId="2670791091" sldId="268"/>
            <ac:picMk id="9" creationId="{61D5CA95-0D5A-0D63-EA87-4CADE4B8D2BE}"/>
          </ac:picMkLst>
        </pc:picChg>
        <pc:picChg chg="del">
          <ac:chgData name="Roberto Gallardo" userId="49a044883f185952" providerId="LiveId" clId="{F4D957F6-5F28-4DDF-9F2A-0CB3D547903A}" dt="2022-07-06T22:36:26.200" v="1641" actId="478"/>
          <ac:picMkLst>
            <pc:docMk/>
            <pc:sldMk cId="2670791091" sldId="268"/>
            <ac:picMk id="9" creationId="{A23C3077-18F4-D986-FD73-9EEB38CBB4EF}"/>
          </ac:picMkLst>
        </pc:picChg>
        <pc:picChg chg="add del mod">
          <ac:chgData name="Roberto Gallardo" userId="49a044883f185952" providerId="LiveId" clId="{F4D957F6-5F28-4DDF-9F2A-0CB3D547903A}" dt="2022-07-10T15:58:44.549" v="8238" actId="478"/>
          <ac:picMkLst>
            <pc:docMk/>
            <pc:sldMk cId="2670791091" sldId="268"/>
            <ac:picMk id="10" creationId="{8DBFB1ED-9EF2-B936-F2C1-0923DE5ADE42}"/>
          </ac:picMkLst>
        </pc:picChg>
      </pc:sldChg>
      <pc:sldChg chg="addSp delSp modSp add mod">
        <pc:chgData name="Roberto Gallardo" userId="49a044883f185952" providerId="LiveId" clId="{F4D957F6-5F28-4DDF-9F2A-0CB3D547903A}" dt="2022-07-09T15:05:58.766" v="8236"/>
        <pc:sldMkLst>
          <pc:docMk/>
          <pc:sldMk cId="3618545072" sldId="269"/>
        </pc:sldMkLst>
        <pc:spChg chg="mod">
          <ac:chgData name="Roberto Gallardo" userId="49a044883f185952" providerId="LiveId" clId="{F4D957F6-5F28-4DDF-9F2A-0CB3D547903A}" dt="2022-07-06T22:39:52.111" v="1712" actId="20577"/>
          <ac:spMkLst>
            <pc:docMk/>
            <pc:sldMk cId="3618545072" sldId="269"/>
            <ac:spMk id="2" creationId="{C03B1400-5F72-D252-1DBE-EDCD6E63B07C}"/>
          </ac:spMkLst>
        </pc:spChg>
        <pc:spChg chg="add mod">
          <ac:chgData name="Roberto Gallardo" userId="49a044883f185952" providerId="LiveId" clId="{F4D957F6-5F28-4DDF-9F2A-0CB3D547903A}" dt="2022-07-06T22:43:50.723" v="1817" actId="255"/>
          <ac:spMkLst>
            <pc:docMk/>
            <pc:sldMk cId="3618545072" sldId="269"/>
            <ac:spMk id="7" creationId="{90F8BE7A-1D3B-3284-C5D0-89541B85FCF6}"/>
          </ac:spMkLst>
        </pc:spChg>
        <pc:picChg chg="del">
          <ac:chgData name="Roberto Gallardo" userId="49a044883f185952" providerId="LiveId" clId="{F4D957F6-5F28-4DDF-9F2A-0CB3D547903A}" dt="2022-07-06T22:41:01.307" v="1713" actId="478"/>
          <ac:picMkLst>
            <pc:docMk/>
            <pc:sldMk cId="3618545072" sldId="269"/>
            <ac:picMk id="5" creationId="{BC0DDB0A-24DE-355E-1DCE-546916112ABB}"/>
          </ac:picMkLst>
        </pc:picChg>
        <pc:picChg chg="add del mod">
          <ac:chgData name="Roberto Gallardo" userId="49a044883f185952" providerId="LiveId" clId="{F4D957F6-5F28-4DDF-9F2A-0CB3D547903A}" dt="2022-07-06T22:50:14.166" v="1849" actId="478"/>
          <ac:picMkLst>
            <pc:docMk/>
            <pc:sldMk cId="3618545072" sldId="269"/>
            <ac:picMk id="6" creationId="{19E1FB01-01BD-01CB-9397-3DF9619103BD}"/>
          </ac:picMkLst>
        </pc:picChg>
        <pc:picChg chg="add del mod">
          <ac:chgData name="Roberto Gallardo" userId="49a044883f185952" providerId="LiveId" clId="{F4D957F6-5F28-4DDF-9F2A-0CB3D547903A}" dt="2022-07-09T15:02:49.384" v="8218" actId="478"/>
          <ac:picMkLst>
            <pc:docMk/>
            <pc:sldMk cId="3618545072" sldId="269"/>
            <ac:picMk id="9" creationId="{3DCFCCBB-98F1-2623-0E8C-24A8DE45859F}"/>
          </ac:picMkLst>
        </pc:picChg>
        <pc:picChg chg="add mod">
          <ac:chgData name="Roberto Gallardo" userId="49a044883f185952" providerId="LiveId" clId="{F4D957F6-5F28-4DDF-9F2A-0CB3D547903A}" dt="2022-07-06T23:33:14.008" v="1964" actId="1036"/>
          <ac:picMkLst>
            <pc:docMk/>
            <pc:sldMk cId="3618545072" sldId="269"/>
            <ac:picMk id="10" creationId="{B0321917-D748-5181-7D6B-5048E85DA5E6}"/>
          </ac:picMkLst>
        </pc:picChg>
        <pc:picChg chg="add mod">
          <ac:chgData name="Roberto Gallardo" userId="49a044883f185952" providerId="LiveId" clId="{F4D957F6-5F28-4DDF-9F2A-0CB3D547903A}" dt="2022-07-09T15:05:58.766" v="8236"/>
          <ac:picMkLst>
            <pc:docMk/>
            <pc:sldMk cId="3618545072" sldId="269"/>
            <ac:picMk id="11" creationId="{A04580FC-CD08-15E2-4583-B2AA9F29633E}"/>
          </ac:picMkLst>
        </pc:picChg>
      </pc:sldChg>
      <pc:sldChg chg="addSp delSp modSp add mod">
        <pc:chgData name="Roberto Gallardo" userId="49a044883f185952" providerId="LiveId" clId="{F4D957F6-5F28-4DDF-9F2A-0CB3D547903A}" dt="2022-07-09T15:06:09.087" v="8237"/>
        <pc:sldMkLst>
          <pc:docMk/>
          <pc:sldMk cId="436430764" sldId="270"/>
        </pc:sldMkLst>
        <pc:spChg chg="mod">
          <ac:chgData name="Roberto Gallardo" userId="49a044883f185952" providerId="LiveId" clId="{F4D957F6-5F28-4DDF-9F2A-0CB3D547903A}" dt="2022-07-06T22:44:04.827" v="1830" actId="20577"/>
          <ac:spMkLst>
            <pc:docMk/>
            <pc:sldMk cId="436430764" sldId="270"/>
            <ac:spMk id="2" creationId="{C03B1400-5F72-D252-1DBE-EDCD6E63B07C}"/>
          </ac:spMkLst>
        </pc:spChg>
        <pc:spChg chg="mod">
          <ac:chgData name="Roberto Gallardo" userId="49a044883f185952" providerId="LiveId" clId="{F4D957F6-5F28-4DDF-9F2A-0CB3D547903A}" dt="2022-07-06T22:44:15.492" v="1842" actId="20577"/>
          <ac:spMkLst>
            <pc:docMk/>
            <pc:sldMk cId="436430764" sldId="270"/>
            <ac:spMk id="7" creationId="{90F8BE7A-1D3B-3284-C5D0-89541B85FCF6}"/>
          </ac:spMkLst>
        </pc:spChg>
        <pc:picChg chg="add del mod">
          <ac:chgData name="Roberto Gallardo" userId="49a044883f185952" providerId="LiveId" clId="{F4D957F6-5F28-4DDF-9F2A-0CB3D547903A}" dt="2022-07-06T23:55:55.335" v="2024" actId="478"/>
          <ac:picMkLst>
            <pc:docMk/>
            <pc:sldMk cId="436430764" sldId="270"/>
            <ac:picMk id="5" creationId="{C2091799-55B1-72F5-6048-6801B5F101E5}"/>
          </ac:picMkLst>
        </pc:picChg>
        <pc:picChg chg="del">
          <ac:chgData name="Roberto Gallardo" userId="49a044883f185952" providerId="LiveId" clId="{F4D957F6-5F28-4DDF-9F2A-0CB3D547903A}" dt="2022-07-06T22:44:22.634" v="1843" actId="478"/>
          <ac:picMkLst>
            <pc:docMk/>
            <pc:sldMk cId="436430764" sldId="270"/>
            <ac:picMk id="6" creationId="{19E1FB01-01BD-01CB-9397-3DF9619103BD}"/>
          </ac:picMkLst>
        </pc:picChg>
        <pc:picChg chg="add del mod">
          <ac:chgData name="Roberto Gallardo" userId="49a044883f185952" providerId="LiveId" clId="{F4D957F6-5F28-4DDF-9F2A-0CB3D547903A}" dt="2022-07-09T15:02:52.152" v="8219" actId="478"/>
          <ac:picMkLst>
            <pc:docMk/>
            <pc:sldMk cId="436430764" sldId="270"/>
            <ac:picMk id="9" creationId="{E5EEAF85-C66B-9406-0260-8AC818F73591}"/>
          </ac:picMkLst>
        </pc:picChg>
        <pc:picChg chg="add mod">
          <ac:chgData name="Roberto Gallardo" userId="49a044883f185952" providerId="LiveId" clId="{F4D957F6-5F28-4DDF-9F2A-0CB3D547903A}" dt="2022-07-07T00:19:27.359" v="2093" actId="1037"/>
          <ac:picMkLst>
            <pc:docMk/>
            <pc:sldMk cId="436430764" sldId="270"/>
            <ac:picMk id="10" creationId="{9B537C89-2489-C6B2-0DC8-074120B38C6B}"/>
          </ac:picMkLst>
        </pc:picChg>
        <pc:picChg chg="add mod">
          <ac:chgData name="Roberto Gallardo" userId="49a044883f185952" providerId="LiveId" clId="{F4D957F6-5F28-4DDF-9F2A-0CB3D547903A}" dt="2022-07-09T15:06:09.087" v="8237"/>
          <ac:picMkLst>
            <pc:docMk/>
            <pc:sldMk cId="436430764" sldId="270"/>
            <ac:picMk id="11" creationId="{20C03915-DA9C-757A-A650-980DD2CA00CD}"/>
          </ac:picMkLst>
        </pc:picChg>
      </pc:sldChg>
      <pc:sldChg chg="addSp delSp modSp add mod ord">
        <pc:chgData name="Roberto Gallardo" userId="49a044883f185952" providerId="LiveId" clId="{F4D957F6-5F28-4DDF-9F2A-0CB3D547903A}" dt="2022-07-09T14:59:15.472" v="8198"/>
        <pc:sldMkLst>
          <pc:docMk/>
          <pc:sldMk cId="1418533539" sldId="271"/>
        </pc:sldMkLst>
        <pc:spChg chg="mod">
          <ac:chgData name="Roberto Gallardo" userId="49a044883f185952" providerId="LiveId" clId="{F4D957F6-5F28-4DDF-9F2A-0CB3D547903A}" dt="2022-07-06T23:27:54.905" v="1859" actId="6549"/>
          <ac:spMkLst>
            <pc:docMk/>
            <pc:sldMk cId="1418533539" sldId="271"/>
            <ac:spMk id="2" creationId="{C03B1400-5F72-D252-1DBE-EDCD6E63B07C}"/>
          </ac:spMkLst>
        </pc:spChg>
        <pc:graphicFrameChg chg="mod">
          <ac:chgData name="Roberto Gallardo" userId="49a044883f185952" providerId="LiveId" clId="{F4D957F6-5F28-4DDF-9F2A-0CB3D547903A}" dt="2022-07-06T23:29:50.541" v="1913"/>
          <ac:graphicFrameMkLst>
            <pc:docMk/>
            <pc:sldMk cId="1418533539" sldId="271"/>
            <ac:graphicFrameMk id="12" creationId="{DABF0741-AD27-F6EC-F006-1930AC38E762}"/>
          </ac:graphicFrameMkLst>
        </pc:graphicFrameChg>
        <pc:picChg chg="add del mod">
          <ac:chgData name="Roberto Gallardo" userId="49a044883f185952" providerId="LiveId" clId="{F4D957F6-5F28-4DDF-9F2A-0CB3D547903A}" dt="2022-07-09T14:54:49.281" v="8169" actId="478"/>
          <ac:picMkLst>
            <pc:docMk/>
            <pc:sldMk cId="1418533539" sldId="271"/>
            <ac:picMk id="5" creationId="{58F25383-2ECB-5747-C30C-7CF7813F6475}"/>
          </ac:picMkLst>
        </pc:picChg>
        <pc:picChg chg="add del mod">
          <ac:chgData name="Roberto Gallardo" userId="49a044883f185952" providerId="LiveId" clId="{F4D957F6-5F28-4DDF-9F2A-0CB3D547903A}" dt="2022-07-09T14:57:24.144" v="8184" actId="478"/>
          <ac:picMkLst>
            <pc:docMk/>
            <pc:sldMk cId="1418533539" sldId="271"/>
            <ac:picMk id="6" creationId="{33D61055-25CC-642A-DB2B-056946C49651}"/>
          </ac:picMkLst>
        </pc:picChg>
        <pc:picChg chg="add del mod">
          <ac:chgData name="Roberto Gallardo" userId="49a044883f185952" providerId="LiveId" clId="{F4D957F6-5F28-4DDF-9F2A-0CB3D547903A}" dt="2022-07-09T14:54:46.865" v="8168" actId="478"/>
          <ac:picMkLst>
            <pc:docMk/>
            <pc:sldMk cId="1418533539" sldId="271"/>
            <ac:picMk id="7" creationId="{C1FBE600-A15B-D21D-560D-095518C56D8F}"/>
          </ac:picMkLst>
        </pc:picChg>
        <pc:picChg chg="add del mod">
          <ac:chgData name="Roberto Gallardo" userId="49a044883f185952" providerId="LiveId" clId="{F4D957F6-5F28-4DDF-9F2A-0CB3D547903A}" dt="2022-07-09T14:57:19.553" v="8183" actId="478"/>
          <ac:picMkLst>
            <pc:docMk/>
            <pc:sldMk cId="1418533539" sldId="271"/>
            <ac:picMk id="10" creationId="{15B1EE70-CA0B-E118-85DC-86F017381911}"/>
          </ac:picMkLst>
        </pc:picChg>
        <pc:picChg chg="add mod">
          <ac:chgData name="Roberto Gallardo" userId="49a044883f185952" providerId="LiveId" clId="{F4D957F6-5F28-4DDF-9F2A-0CB3D547903A}" dt="2022-07-09T14:59:06.232" v="8197" actId="1037"/>
          <ac:picMkLst>
            <pc:docMk/>
            <pc:sldMk cId="1418533539" sldId="271"/>
            <ac:picMk id="11" creationId="{AEFDEB6D-F3A3-1572-E046-90ABC9E2817B}"/>
          </ac:picMkLst>
        </pc:picChg>
        <pc:picChg chg="add mod">
          <ac:chgData name="Roberto Gallardo" userId="49a044883f185952" providerId="LiveId" clId="{F4D957F6-5F28-4DDF-9F2A-0CB3D547903A}" dt="2022-07-09T14:59:15.472" v="8198"/>
          <ac:picMkLst>
            <pc:docMk/>
            <pc:sldMk cId="1418533539" sldId="271"/>
            <ac:picMk id="13" creationId="{4F7357C3-AA47-A578-E18E-C38D0920BC2B}"/>
          </ac:picMkLst>
        </pc:picChg>
        <pc:picChg chg="del">
          <ac:chgData name="Roberto Gallardo" userId="49a044883f185952" providerId="LiveId" clId="{F4D957F6-5F28-4DDF-9F2A-0CB3D547903A}" dt="2022-07-06T23:27:58.648" v="1860" actId="478"/>
          <ac:picMkLst>
            <pc:docMk/>
            <pc:sldMk cId="1418533539" sldId="271"/>
            <ac:picMk id="16" creationId="{532B7758-F2FB-D91F-D115-90D2274360A1}"/>
          </ac:picMkLst>
        </pc:picChg>
      </pc:sldChg>
      <pc:sldChg chg="addSp delSp modSp add mod ord">
        <pc:chgData name="Roberto Gallardo" userId="49a044883f185952" providerId="LiveId" clId="{F4D957F6-5F28-4DDF-9F2A-0CB3D547903A}" dt="2022-07-09T14:14:07.031" v="8167"/>
        <pc:sldMkLst>
          <pc:docMk/>
          <pc:sldMk cId="2653937722" sldId="272"/>
        </pc:sldMkLst>
        <pc:spChg chg="mod">
          <ac:chgData name="Roberto Gallardo" userId="49a044883f185952" providerId="LiveId" clId="{F4D957F6-5F28-4DDF-9F2A-0CB3D547903A}" dt="2022-07-09T11:36:32.688" v="2270" actId="20577"/>
          <ac:spMkLst>
            <pc:docMk/>
            <pc:sldMk cId="2653937722" sldId="272"/>
            <ac:spMk id="2" creationId="{C03B1400-5F72-D252-1DBE-EDCD6E63B07C}"/>
          </ac:spMkLst>
        </pc:spChg>
        <pc:graphicFrameChg chg="mod">
          <ac:chgData name="Roberto Gallardo" userId="49a044883f185952" providerId="LiveId" clId="{F4D957F6-5F28-4DDF-9F2A-0CB3D547903A}" dt="2022-07-09T11:39:25.708" v="2293" actId="20577"/>
          <ac:graphicFrameMkLst>
            <pc:docMk/>
            <pc:sldMk cId="2653937722" sldId="272"/>
            <ac:graphicFrameMk id="10" creationId="{FD2FC231-ACEF-5FF2-C4CE-DFF89EB85588}"/>
          </ac:graphicFrameMkLst>
        </pc:graphicFrameChg>
        <pc:picChg chg="del">
          <ac:chgData name="Roberto Gallardo" userId="49a044883f185952" providerId="LiveId" clId="{F4D957F6-5F28-4DDF-9F2A-0CB3D547903A}" dt="2022-07-09T11:36:10.261" v="2203" actId="478"/>
          <ac:picMkLst>
            <pc:docMk/>
            <pc:sldMk cId="2653937722" sldId="272"/>
            <ac:picMk id="6" creationId="{F6A5490A-A5E9-61BB-9097-88457932C0C3}"/>
          </ac:picMkLst>
        </pc:picChg>
        <pc:picChg chg="add mod">
          <ac:chgData name="Roberto Gallardo" userId="49a044883f185952" providerId="LiveId" clId="{F4D957F6-5F28-4DDF-9F2A-0CB3D547903A}" dt="2022-07-09T11:39:43.513" v="2294"/>
          <ac:picMkLst>
            <pc:docMk/>
            <pc:sldMk cId="2653937722" sldId="272"/>
            <ac:picMk id="7" creationId="{47B0A1AD-C83F-A2F8-D8C7-ED6D53AA4B2F}"/>
          </ac:picMkLst>
        </pc:picChg>
      </pc:sldChg>
      <pc:sldChg chg="addSp delSp modSp add mod ord">
        <pc:chgData name="Roberto Gallardo" userId="49a044883f185952" providerId="LiveId" clId="{F4D957F6-5F28-4DDF-9F2A-0CB3D547903A}" dt="2022-07-09T11:51:05.243" v="2440"/>
        <pc:sldMkLst>
          <pc:docMk/>
          <pc:sldMk cId="2076698419" sldId="273"/>
        </pc:sldMkLst>
        <pc:spChg chg="mod">
          <ac:chgData name="Roberto Gallardo" userId="49a044883f185952" providerId="LiveId" clId="{F4D957F6-5F28-4DDF-9F2A-0CB3D547903A}" dt="2022-07-09T11:44:35.684" v="2312" actId="20577"/>
          <ac:spMkLst>
            <pc:docMk/>
            <pc:sldMk cId="2076698419" sldId="273"/>
            <ac:spMk id="2" creationId="{C03B1400-5F72-D252-1DBE-EDCD6E63B07C}"/>
          </ac:spMkLst>
        </pc:spChg>
        <pc:graphicFrameChg chg="mod">
          <ac:chgData name="Roberto Gallardo" userId="49a044883f185952" providerId="LiveId" clId="{F4D957F6-5F28-4DDF-9F2A-0CB3D547903A}" dt="2022-07-09T11:45:57.924" v="2335" actId="20577"/>
          <ac:graphicFrameMkLst>
            <pc:docMk/>
            <pc:sldMk cId="2076698419" sldId="273"/>
            <ac:graphicFrameMk id="10" creationId="{FD2FC231-ACEF-5FF2-C4CE-DFF89EB85588}"/>
          </ac:graphicFrameMkLst>
        </pc:graphicFrameChg>
        <pc:picChg chg="del">
          <ac:chgData name="Roberto Gallardo" userId="49a044883f185952" providerId="LiveId" clId="{F4D957F6-5F28-4DDF-9F2A-0CB3D547903A}" dt="2022-07-09T11:44:14.059" v="2298" actId="478"/>
          <ac:picMkLst>
            <pc:docMk/>
            <pc:sldMk cId="2076698419" sldId="273"/>
            <ac:picMk id="7" creationId="{47B0A1AD-C83F-A2F8-D8C7-ED6D53AA4B2F}"/>
          </ac:picMkLst>
        </pc:picChg>
        <pc:picChg chg="add mod">
          <ac:chgData name="Roberto Gallardo" userId="49a044883f185952" providerId="LiveId" clId="{F4D957F6-5F28-4DDF-9F2A-0CB3D547903A}" dt="2022-07-09T11:51:05.243" v="2440"/>
          <ac:picMkLst>
            <pc:docMk/>
            <pc:sldMk cId="2076698419" sldId="273"/>
            <ac:picMk id="9" creationId="{FFA57C8B-4C3E-6D4F-82A8-EE27683795FD}"/>
          </ac:picMkLst>
        </pc:picChg>
      </pc:sldChg>
      <pc:sldChg chg="addSp modSp add del mod">
        <pc:chgData name="Roberto Gallardo" userId="49a044883f185952" providerId="LiveId" clId="{F4D957F6-5F28-4DDF-9F2A-0CB3D547903A}" dt="2022-07-09T11:51:01.343" v="2439" actId="47"/>
        <pc:sldMkLst>
          <pc:docMk/>
          <pc:sldMk cId="3196042900" sldId="274"/>
        </pc:sldMkLst>
        <pc:spChg chg="mod">
          <ac:chgData name="Roberto Gallardo" userId="49a044883f185952" providerId="LiveId" clId="{F4D957F6-5F28-4DDF-9F2A-0CB3D547903A}" dt="2022-07-09T11:47:54.484" v="2374" actId="20577"/>
          <ac:spMkLst>
            <pc:docMk/>
            <pc:sldMk cId="3196042900" sldId="274"/>
            <ac:spMk id="2" creationId="{C03B1400-5F72-D252-1DBE-EDCD6E63B07C}"/>
          </ac:spMkLst>
        </pc:spChg>
        <pc:spChg chg="add mod">
          <ac:chgData name="Roberto Gallardo" userId="49a044883f185952" providerId="LiveId" clId="{F4D957F6-5F28-4DDF-9F2A-0CB3D547903A}" dt="2022-07-09T11:49:18.050" v="2424" actId="2711"/>
          <ac:spMkLst>
            <pc:docMk/>
            <pc:sldMk cId="3196042900" sldId="274"/>
            <ac:spMk id="6" creationId="{522A571D-CAF9-2AE6-B5F4-317988087B5C}"/>
          </ac:spMkLst>
        </pc:spChg>
        <pc:spChg chg="mod">
          <ac:chgData name="Roberto Gallardo" userId="49a044883f185952" providerId="LiveId" clId="{F4D957F6-5F28-4DDF-9F2A-0CB3D547903A}" dt="2022-07-09T11:49:06.804" v="2423" actId="14100"/>
          <ac:spMkLst>
            <pc:docMk/>
            <pc:sldMk cId="3196042900" sldId="274"/>
            <ac:spMk id="8" creationId="{40AF43CC-DD34-B66D-2100-C70E6AB3ED53}"/>
          </ac:spMkLst>
        </pc:spChg>
        <pc:graphicFrameChg chg="mod">
          <ac:chgData name="Roberto Gallardo" userId="49a044883f185952" providerId="LiveId" clId="{F4D957F6-5F28-4DDF-9F2A-0CB3D547903A}" dt="2022-07-09T11:46:26.929" v="2366" actId="20577"/>
          <ac:graphicFrameMkLst>
            <pc:docMk/>
            <pc:sldMk cId="3196042900" sldId="274"/>
            <ac:graphicFrameMk id="10" creationId="{FD2FC231-ACEF-5FF2-C4CE-DFF89EB85588}"/>
          </ac:graphicFrameMkLst>
        </pc:graphicFrameChg>
      </pc:sldChg>
      <pc:sldChg chg="addSp delSp modSp add mod">
        <pc:chgData name="Roberto Gallardo" userId="49a044883f185952" providerId="LiveId" clId="{F4D957F6-5F28-4DDF-9F2A-0CB3D547903A}" dt="2022-07-09T11:53:37.363" v="2578"/>
        <pc:sldMkLst>
          <pc:docMk/>
          <pc:sldMk cId="3802335161" sldId="274"/>
        </pc:sldMkLst>
        <pc:spChg chg="mod">
          <ac:chgData name="Roberto Gallardo" userId="49a044883f185952" providerId="LiveId" clId="{F4D957F6-5F28-4DDF-9F2A-0CB3D547903A}" dt="2022-07-09T11:51:21.584" v="2473" actId="20577"/>
          <ac:spMkLst>
            <pc:docMk/>
            <pc:sldMk cId="3802335161" sldId="274"/>
            <ac:spMk id="2" creationId="{C03B1400-5F72-D252-1DBE-EDCD6E63B07C}"/>
          </ac:spMkLst>
        </pc:spChg>
        <pc:spChg chg="add mod">
          <ac:chgData name="Roberto Gallardo" userId="49a044883f185952" providerId="LiveId" clId="{F4D957F6-5F28-4DDF-9F2A-0CB3D547903A}" dt="2022-07-09T11:52:17.918" v="2554" actId="1076"/>
          <ac:spMkLst>
            <pc:docMk/>
            <pc:sldMk cId="3802335161" sldId="274"/>
            <ac:spMk id="7" creationId="{06088BFF-E008-7036-06DC-C79AACE6A6EF}"/>
          </ac:spMkLst>
        </pc:spChg>
        <pc:spChg chg="mod">
          <ac:chgData name="Roberto Gallardo" userId="49a044883f185952" providerId="LiveId" clId="{F4D957F6-5F28-4DDF-9F2A-0CB3D547903A}" dt="2022-07-09T11:52:39.635" v="2570" actId="1076"/>
          <ac:spMkLst>
            <pc:docMk/>
            <pc:sldMk cId="3802335161" sldId="274"/>
            <ac:spMk id="8" creationId="{40AF43CC-DD34-B66D-2100-C70E6AB3ED53}"/>
          </ac:spMkLst>
        </pc:spChg>
        <pc:graphicFrameChg chg="mod">
          <ac:chgData name="Roberto Gallardo" userId="49a044883f185952" providerId="LiveId" clId="{F4D957F6-5F28-4DDF-9F2A-0CB3D547903A}" dt="2022-07-09T11:51:27.441" v="2477" actId="20577"/>
          <ac:graphicFrameMkLst>
            <pc:docMk/>
            <pc:sldMk cId="3802335161" sldId="274"/>
            <ac:graphicFrameMk id="10" creationId="{FD2FC231-ACEF-5FF2-C4CE-DFF89EB85588}"/>
          </ac:graphicFrameMkLst>
        </pc:graphicFrameChg>
        <pc:picChg chg="del">
          <ac:chgData name="Roberto Gallardo" userId="49a044883f185952" providerId="LiveId" clId="{F4D957F6-5F28-4DDF-9F2A-0CB3D547903A}" dt="2022-07-09T11:51:12.990" v="2442" actId="478"/>
          <ac:picMkLst>
            <pc:docMk/>
            <pc:sldMk cId="3802335161" sldId="274"/>
            <ac:picMk id="9" creationId="{FFA57C8B-4C3E-6D4F-82A8-EE27683795FD}"/>
          </ac:picMkLst>
        </pc:picChg>
        <pc:picChg chg="add mod">
          <ac:chgData name="Roberto Gallardo" userId="49a044883f185952" providerId="LiveId" clId="{F4D957F6-5F28-4DDF-9F2A-0CB3D547903A}" dt="2022-07-09T11:53:37.363" v="2578"/>
          <ac:picMkLst>
            <pc:docMk/>
            <pc:sldMk cId="3802335161" sldId="274"/>
            <ac:picMk id="11" creationId="{20764531-2D44-8514-A242-BA2A93780D69}"/>
          </ac:picMkLst>
        </pc:picChg>
      </pc:sldChg>
      <pc:sldChg chg="addSp delSp modSp add mod ord">
        <pc:chgData name="Roberto Gallardo" userId="49a044883f185952" providerId="LiveId" clId="{F4D957F6-5F28-4DDF-9F2A-0CB3D547903A}" dt="2022-07-09T12:37:45.707" v="7878"/>
        <pc:sldMkLst>
          <pc:docMk/>
          <pc:sldMk cId="4292554322" sldId="275"/>
        </pc:sldMkLst>
        <pc:spChg chg="mod">
          <ac:chgData name="Roberto Gallardo" userId="49a044883f185952" providerId="LiveId" clId="{F4D957F6-5F28-4DDF-9F2A-0CB3D547903A}" dt="2022-07-09T11:59:53.687" v="2752" actId="20577"/>
          <ac:spMkLst>
            <pc:docMk/>
            <pc:sldMk cId="4292554322" sldId="275"/>
            <ac:spMk id="2" creationId="{C03B1400-5F72-D252-1DBE-EDCD6E63B07C}"/>
          </ac:spMkLst>
        </pc:spChg>
        <pc:spChg chg="mod">
          <ac:chgData name="Roberto Gallardo" userId="49a044883f185952" providerId="LiveId" clId="{F4D957F6-5F28-4DDF-9F2A-0CB3D547903A}" dt="2022-07-09T11:56:56.440" v="2705" actId="20577"/>
          <ac:spMkLst>
            <pc:docMk/>
            <pc:sldMk cId="4292554322" sldId="275"/>
            <ac:spMk id="8" creationId="{40AF43CC-DD34-B66D-2100-C70E6AB3ED53}"/>
          </ac:spMkLst>
        </pc:spChg>
        <pc:graphicFrameChg chg="mod">
          <ac:chgData name="Roberto Gallardo" userId="49a044883f185952" providerId="LiveId" clId="{F4D957F6-5F28-4DDF-9F2A-0CB3D547903A}" dt="2022-07-09T11:59:40.308" v="2751" actId="207"/>
          <ac:graphicFrameMkLst>
            <pc:docMk/>
            <pc:sldMk cId="4292554322" sldId="275"/>
            <ac:graphicFrameMk id="10" creationId="{FD2FC231-ACEF-5FF2-C4CE-DFF89EB85588}"/>
          </ac:graphicFrameMkLst>
        </pc:graphicFrameChg>
        <pc:picChg chg="add mod">
          <ac:chgData name="Roberto Gallardo" userId="49a044883f185952" providerId="LiveId" clId="{F4D957F6-5F28-4DDF-9F2A-0CB3D547903A}" dt="2022-07-09T12:37:45.707" v="7878"/>
          <ac:picMkLst>
            <pc:docMk/>
            <pc:sldMk cId="4292554322" sldId="275"/>
            <ac:picMk id="7" creationId="{D63D57C2-CBCB-D955-3A69-AFA7B03E637F}"/>
          </ac:picMkLst>
        </pc:picChg>
        <pc:picChg chg="del">
          <ac:chgData name="Roberto Gallardo" userId="49a044883f185952" providerId="LiveId" clId="{F4D957F6-5F28-4DDF-9F2A-0CB3D547903A}" dt="2022-07-09T11:55:51.307" v="2616" actId="478"/>
          <ac:picMkLst>
            <pc:docMk/>
            <pc:sldMk cId="4292554322" sldId="275"/>
            <ac:picMk id="9" creationId="{FFA57C8B-4C3E-6D4F-82A8-EE27683795FD}"/>
          </ac:picMkLst>
        </pc:picChg>
      </pc:sldChg>
      <pc:sldChg chg="addSp delSp modSp add mod ord">
        <pc:chgData name="Roberto Gallardo" userId="49a044883f185952" providerId="LiveId" clId="{F4D957F6-5F28-4DDF-9F2A-0CB3D547903A}" dt="2022-07-09T12:32:45.847" v="7137"/>
        <pc:sldMkLst>
          <pc:docMk/>
          <pc:sldMk cId="513409896" sldId="276"/>
        </pc:sldMkLst>
        <pc:spChg chg="mod">
          <ac:chgData name="Roberto Gallardo" userId="49a044883f185952" providerId="LiveId" clId="{F4D957F6-5F28-4DDF-9F2A-0CB3D547903A}" dt="2022-07-09T12:06:25.346" v="3010" actId="20577"/>
          <ac:spMkLst>
            <pc:docMk/>
            <pc:sldMk cId="513409896" sldId="276"/>
            <ac:spMk id="2" creationId="{C03B1400-5F72-D252-1DBE-EDCD6E63B07C}"/>
          </ac:spMkLst>
        </pc:spChg>
        <pc:spChg chg="del">
          <ac:chgData name="Roberto Gallardo" userId="49a044883f185952" providerId="LiveId" clId="{F4D957F6-5F28-4DDF-9F2A-0CB3D547903A}" dt="2022-07-09T12:06:09.640" v="3006" actId="478"/>
          <ac:spMkLst>
            <pc:docMk/>
            <pc:sldMk cId="513409896" sldId="276"/>
            <ac:spMk id="7" creationId="{06088BFF-E008-7036-06DC-C79AACE6A6EF}"/>
          </ac:spMkLst>
        </pc:spChg>
        <pc:spChg chg="mod">
          <ac:chgData name="Roberto Gallardo" userId="49a044883f185952" providerId="LiveId" clId="{F4D957F6-5F28-4DDF-9F2A-0CB3D547903A}" dt="2022-07-09T12:07:13.926" v="3022" actId="1076"/>
          <ac:spMkLst>
            <pc:docMk/>
            <pc:sldMk cId="513409896" sldId="276"/>
            <ac:spMk id="8" creationId="{40AF43CC-DD34-B66D-2100-C70E6AB3ED53}"/>
          </ac:spMkLst>
        </pc:spChg>
        <pc:spChg chg="add mod">
          <ac:chgData name="Roberto Gallardo" userId="49a044883f185952" providerId="LiveId" clId="{F4D957F6-5F28-4DDF-9F2A-0CB3D547903A}" dt="2022-07-09T12:04:10.337" v="2913" actId="2711"/>
          <ac:spMkLst>
            <pc:docMk/>
            <pc:sldMk cId="513409896" sldId="276"/>
            <ac:spMk id="9" creationId="{EB4CC4F6-2F6B-8AF9-8151-CB2C0FF4BAC4}"/>
          </ac:spMkLst>
        </pc:spChg>
        <pc:spChg chg="add mod">
          <ac:chgData name="Roberto Gallardo" userId="49a044883f185952" providerId="LiveId" clId="{F4D957F6-5F28-4DDF-9F2A-0CB3D547903A}" dt="2022-07-09T12:04:38.578" v="2919" actId="20577"/>
          <ac:spMkLst>
            <pc:docMk/>
            <pc:sldMk cId="513409896" sldId="276"/>
            <ac:spMk id="16" creationId="{420A225E-A640-906C-A470-552759842A43}"/>
          </ac:spMkLst>
        </pc:spChg>
        <pc:spChg chg="add mod">
          <ac:chgData name="Roberto Gallardo" userId="49a044883f185952" providerId="LiveId" clId="{F4D957F6-5F28-4DDF-9F2A-0CB3D547903A}" dt="2022-07-09T12:05:55.314" v="3004" actId="1036"/>
          <ac:spMkLst>
            <pc:docMk/>
            <pc:sldMk cId="513409896" sldId="276"/>
            <ac:spMk id="21" creationId="{9A68ADBE-AECC-EE60-7E94-3675B33E08AE}"/>
          </ac:spMkLst>
        </pc:spChg>
        <pc:spChg chg="add mod">
          <ac:chgData name="Roberto Gallardo" userId="49a044883f185952" providerId="LiveId" clId="{F4D957F6-5F28-4DDF-9F2A-0CB3D547903A}" dt="2022-07-09T12:06:41.497" v="3011" actId="1076"/>
          <ac:spMkLst>
            <pc:docMk/>
            <pc:sldMk cId="513409896" sldId="276"/>
            <ac:spMk id="26" creationId="{CCDA5E37-63CE-CEAA-0EAC-3BD8E75B5BA0}"/>
          </ac:spMkLst>
        </pc:spChg>
        <pc:graphicFrameChg chg="mod">
          <ac:chgData name="Roberto Gallardo" userId="49a044883f185952" providerId="LiveId" clId="{F4D957F6-5F28-4DDF-9F2A-0CB3D547903A}" dt="2022-07-09T12:00:25.926" v="2807" actId="20577"/>
          <ac:graphicFrameMkLst>
            <pc:docMk/>
            <pc:sldMk cId="513409896" sldId="276"/>
            <ac:graphicFrameMk id="10" creationId="{FD2FC231-ACEF-5FF2-C4CE-DFF89EB85588}"/>
          </ac:graphicFrameMkLst>
        </pc:graphicFrameChg>
        <pc:picChg chg="del">
          <ac:chgData name="Roberto Gallardo" userId="49a044883f185952" providerId="LiveId" clId="{F4D957F6-5F28-4DDF-9F2A-0CB3D547903A}" dt="2022-07-09T12:00:11.234" v="2756" actId="478"/>
          <ac:picMkLst>
            <pc:docMk/>
            <pc:sldMk cId="513409896" sldId="276"/>
            <ac:picMk id="11" creationId="{20764531-2D44-8514-A242-BA2A93780D69}"/>
          </ac:picMkLst>
        </pc:picChg>
        <pc:picChg chg="add mod">
          <ac:chgData name="Roberto Gallardo" userId="49a044883f185952" providerId="LiveId" clId="{F4D957F6-5F28-4DDF-9F2A-0CB3D547903A}" dt="2022-07-09T12:32:45.847" v="7137"/>
          <ac:picMkLst>
            <pc:docMk/>
            <pc:sldMk cId="513409896" sldId="276"/>
            <ac:picMk id="28" creationId="{7ABD12D9-88D7-6FDA-AEAC-080C6614109E}"/>
          </ac:picMkLst>
        </pc:picChg>
        <pc:cxnChg chg="add mod">
          <ac:chgData name="Roberto Gallardo" userId="49a044883f185952" providerId="LiveId" clId="{F4D957F6-5F28-4DDF-9F2A-0CB3D547903A}" dt="2022-07-09T12:03:01.205" v="2819" actId="1076"/>
          <ac:cxnSpMkLst>
            <pc:docMk/>
            <pc:sldMk cId="513409896" sldId="276"/>
            <ac:cxnSpMk id="12" creationId="{CFFB1630-BD90-A400-670C-BA42A969CC53}"/>
          </ac:cxnSpMkLst>
        </pc:cxnChg>
        <pc:cxnChg chg="add mod">
          <ac:chgData name="Roberto Gallardo" userId="49a044883f185952" providerId="LiveId" clId="{F4D957F6-5F28-4DDF-9F2A-0CB3D547903A}" dt="2022-07-09T12:03:01.205" v="2819" actId="1076"/>
          <ac:cxnSpMkLst>
            <pc:docMk/>
            <pc:sldMk cId="513409896" sldId="276"/>
            <ac:cxnSpMk id="13" creationId="{1D0B6E64-E4A0-FEB0-ABC4-B26C8EF7542E}"/>
          </ac:cxnSpMkLst>
        </pc:cxnChg>
        <pc:cxnChg chg="add mod">
          <ac:chgData name="Roberto Gallardo" userId="49a044883f185952" providerId="LiveId" clId="{F4D957F6-5F28-4DDF-9F2A-0CB3D547903A}" dt="2022-07-09T12:03:01.205" v="2819" actId="1076"/>
          <ac:cxnSpMkLst>
            <pc:docMk/>
            <pc:sldMk cId="513409896" sldId="276"/>
            <ac:cxnSpMk id="14" creationId="{15AB37BA-8065-3082-3040-FB8974BC0126}"/>
          </ac:cxnSpMkLst>
        </pc:cxnChg>
        <pc:cxnChg chg="add mod">
          <ac:chgData name="Roberto Gallardo" userId="49a044883f185952" providerId="LiveId" clId="{F4D957F6-5F28-4DDF-9F2A-0CB3D547903A}" dt="2022-07-09T12:03:01.205" v="2819" actId="1076"/>
          <ac:cxnSpMkLst>
            <pc:docMk/>
            <pc:sldMk cId="513409896" sldId="276"/>
            <ac:cxnSpMk id="15" creationId="{BCCCC111-CA7C-CAB0-EAC5-333D5A26296D}"/>
          </ac:cxnSpMkLst>
        </pc:cxnChg>
        <pc:cxnChg chg="add mod">
          <ac:chgData name="Roberto Gallardo" userId="49a044883f185952" providerId="LiveId" clId="{F4D957F6-5F28-4DDF-9F2A-0CB3D547903A}" dt="2022-07-09T12:04:25.929" v="2915" actId="1076"/>
          <ac:cxnSpMkLst>
            <pc:docMk/>
            <pc:sldMk cId="513409896" sldId="276"/>
            <ac:cxnSpMk id="17" creationId="{26BD209E-6819-82CB-9B59-E03611EAC1FC}"/>
          </ac:cxnSpMkLst>
        </pc:cxnChg>
        <pc:cxnChg chg="add mod">
          <ac:chgData name="Roberto Gallardo" userId="49a044883f185952" providerId="LiveId" clId="{F4D957F6-5F28-4DDF-9F2A-0CB3D547903A}" dt="2022-07-09T12:04:25.929" v="2915" actId="1076"/>
          <ac:cxnSpMkLst>
            <pc:docMk/>
            <pc:sldMk cId="513409896" sldId="276"/>
            <ac:cxnSpMk id="18" creationId="{F8736966-F272-CC1E-CA8B-886785B2B5EB}"/>
          </ac:cxnSpMkLst>
        </pc:cxnChg>
        <pc:cxnChg chg="add mod">
          <ac:chgData name="Roberto Gallardo" userId="49a044883f185952" providerId="LiveId" clId="{F4D957F6-5F28-4DDF-9F2A-0CB3D547903A}" dt="2022-07-09T12:04:25.929" v="2915" actId="1076"/>
          <ac:cxnSpMkLst>
            <pc:docMk/>
            <pc:sldMk cId="513409896" sldId="276"/>
            <ac:cxnSpMk id="19" creationId="{310587E0-05D3-43D7-B764-184E1AB6C561}"/>
          </ac:cxnSpMkLst>
        </pc:cxnChg>
        <pc:cxnChg chg="add mod">
          <ac:chgData name="Roberto Gallardo" userId="49a044883f185952" providerId="LiveId" clId="{F4D957F6-5F28-4DDF-9F2A-0CB3D547903A}" dt="2022-07-09T12:04:25.929" v="2915" actId="1076"/>
          <ac:cxnSpMkLst>
            <pc:docMk/>
            <pc:sldMk cId="513409896" sldId="276"/>
            <ac:cxnSpMk id="20" creationId="{4FC1B3BE-8F7B-FCC3-C3CB-625A8A3E620F}"/>
          </ac:cxnSpMkLst>
        </pc:cxnChg>
        <pc:cxnChg chg="add mod">
          <ac:chgData name="Roberto Gallardo" userId="49a044883f185952" providerId="LiveId" clId="{F4D957F6-5F28-4DDF-9F2A-0CB3D547903A}" dt="2022-07-09T12:04:52.466" v="2923" actId="1035"/>
          <ac:cxnSpMkLst>
            <pc:docMk/>
            <pc:sldMk cId="513409896" sldId="276"/>
            <ac:cxnSpMk id="22" creationId="{1B423FA0-E4B3-6570-929B-A9283D503787}"/>
          </ac:cxnSpMkLst>
        </pc:cxnChg>
        <pc:cxnChg chg="add mod">
          <ac:chgData name="Roberto Gallardo" userId="49a044883f185952" providerId="LiveId" clId="{F4D957F6-5F28-4DDF-9F2A-0CB3D547903A}" dt="2022-07-09T12:05:11.201" v="2942" actId="1035"/>
          <ac:cxnSpMkLst>
            <pc:docMk/>
            <pc:sldMk cId="513409896" sldId="276"/>
            <ac:cxnSpMk id="23" creationId="{D616797E-0044-3804-BA5A-23B8EB309CA5}"/>
          </ac:cxnSpMkLst>
        </pc:cxnChg>
        <pc:cxnChg chg="add mod">
          <ac:chgData name="Roberto Gallardo" userId="49a044883f185952" providerId="LiveId" clId="{F4D957F6-5F28-4DDF-9F2A-0CB3D547903A}" dt="2022-07-09T12:05:40.828" v="3001" actId="14100"/>
          <ac:cxnSpMkLst>
            <pc:docMk/>
            <pc:sldMk cId="513409896" sldId="276"/>
            <ac:cxnSpMk id="24" creationId="{20A6256E-6780-BAE0-B803-D02FE024579F}"/>
          </ac:cxnSpMkLst>
        </pc:cxnChg>
        <pc:cxnChg chg="add mod">
          <ac:chgData name="Roberto Gallardo" userId="49a044883f185952" providerId="LiveId" clId="{F4D957F6-5F28-4DDF-9F2A-0CB3D547903A}" dt="2022-07-09T12:08:13.283" v="3023" actId="14100"/>
          <ac:cxnSpMkLst>
            <pc:docMk/>
            <pc:sldMk cId="513409896" sldId="276"/>
            <ac:cxnSpMk id="25" creationId="{62B7492E-2C75-E0CD-947E-C582F412F7D7}"/>
          </ac:cxnSpMkLst>
        </pc:cxnChg>
      </pc:sldChg>
      <pc:sldChg chg="addSp delSp modSp add mod ord">
        <pc:chgData name="Roberto Gallardo" userId="49a044883f185952" providerId="LiveId" clId="{F4D957F6-5F28-4DDF-9F2A-0CB3D547903A}" dt="2022-07-09T12:54:16.818" v="8096"/>
        <pc:sldMkLst>
          <pc:docMk/>
          <pc:sldMk cId="543148149" sldId="277"/>
        </pc:sldMkLst>
        <pc:spChg chg="mod">
          <ac:chgData name="Roberto Gallardo" userId="49a044883f185952" providerId="LiveId" clId="{F4D957F6-5F28-4DDF-9F2A-0CB3D547903A}" dt="2022-07-09T12:09:27.514" v="3061" actId="20577"/>
          <ac:spMkLst>
            <pc:docMk/>
            <pc:sldMk cId="543148149" sldId="277"/>
            <ac:spMk id="2" creationId="{C03B1400-5F72-D252-1DBE-EDCD6E63B07C}"/>
          </ac:spMkLst>
        </pc:spChg>
        <pc:spChg chg="add mod">
          <ac:chgData name="Roberto Gallardo" userId="49a044883f185952" providerId="LiveId" clId="{F4D957F6-5F28-4DDF-9F2A-0CB3D547903A}" dt="2022-07-09T12:54:12.079" v="8095" actId="20577"/>
          <ac:spMkLst>
            <pc:docMk/>
            <pc:sldMk cId="543148149" sldId="277"/>
            <ac:spMk id="5" creationId="{6AE302AC-8931-4144-BE52-DD1A8BA82462}"/>
          </ac:spMkLst>
        </pc:spChg>
        <pc:spChg chg="del">
          <ac:chgData name="Roberto Gallardo" userId="49a044883f185952" providerId="LiveId" clId="{F4D957F6-5F28-4DDF-9F2A-0CB3D547903A}" dt="2022-07-09T12:09:08.508" v="3031" actId="478"/>
          <ac:spMkLst>
            <pc:docMk/>
            <pc:sldMk cId="543148149" sldId="277"/>
            <ac:spMk id="8" creationId="{40AF43CC-DD34-B66D-2100-C70E6AB3ED53}"/>
          </ac:spMkLst>
        </pc:spChg>
        <pc:spChg chg="add mod">
          <ac:chgData name="Roberto Gallardo" userId="49a044883f185952" providerId="LiveId" clId="{F4D957F6-5F28-4DDF-9F2A-0CB3D547903A}" dt="2022-07-09T12:51:48.063" v="8046" actId="20577"/>
          <ac:spMkLst>
            <pc:docMk/>
            <pc:sldMk cId="543148149" sldId="277"/>
            <ac:spMk id="9" creationId="{E362A98F-7DCD-C67C-23CE-1BE182A133B4}"/>
          </ac:spMkLst>
        </pc:spChg>
        <pc:graphicFrameChg chg="del">
          <ac:chgData name="Roberto Gallardo" userId="49a044883f185952" providerId="LiveId" clId="{F4D957F6-5F28-4DDF-9F2A-0CB3D547903A}" dt="2022-07-09T12:09:06.575" v="3030" actId="478"/>
          <ac:graphicFrameMkLst>
            <pc:docMk/>
            <pc:sldMk cId="543148149" sldId="277"/>
            <ac:graphicFrameMk id="7" creationId="{9B61CC2F-17D9-E6A9-D1A8-11B47E6F047B}"/>
          </ac:graphicFrameMkLst>
        </pc:graphicFrameChg>
        <pc:picChg chg="del">
          <ac:chgData name="Roberto Gallardo" userId="49a044883f185952" providerId="LiveId" clId="{F4D957F6-5F28-4DDF-9F2A-0CB3D547903A}" dt="2022-07-09T12:09:03.997" v="3029" actId="478"/>
          <ac:picMkLst>
            <pc:docMk/>
            <pc:sldMk cId="543148149" sldId="277"/>
            <ac:picMk id="6" creationId="{7454CA65-C29D-E836-52C1-21A108BA680B}"/>
          </ac:picMkLst>
        </pc:picChg>
        <pc:picChg chg="add del mod">
          <ac:chgData name="Roberto Gallardo" userId="49a044883f185952" providerId="LiveId" clId="{F4D957F6-5F28-4DDF-9F2A-0CB3D547903A}" dt="2022-07-09T12:34:32.957" v="7446" actId="478"/>
          <ac:picMkLst>
            <pc:docMk/>
            <pc:sldMk cId="543148149" sldId="277"/>
            <ac:picMk id="10" creationId="{A5E287D6-F3CD-8BB0-EC0F-5940483921DC}"/>
          </ac:picMkLst>
        </pc:picChg>
        <pc:picChg chg="add del mod">
          <ac:chgData name="Roberto Gallardo" userId="49a044883f185952" providerId="LiveId" clId="{F4D957F6-5F28-4DDF-9F2A-0CB3D547903A}" dt="2022-07-09T12:37:27.928" v="7849" actId="478"/>
          <ac:picMkLst>
            <pc:docMk/>
            <pc:sldMk cId="543148149" sldId="277"/>
            <ac:picMk id="11" creationId="{E8ABEFBC-4C66-F937-39D7-2095662F0F18}"/>
          </ac:picMkLst>
        </pc:picChg>
        <pc:picChg chg="add del mod">
          <ac:chgData name="Roberto Gallardo" userId="49a044883f185952" providerId="LiveId" clId="{F4D957F6-5F28-4DDF-9F2A-0CB3D547903A}" dt="2022-07-09T12:39:48.675" v="7879" actId="478"/>
          <ac:picMkLst>
            <pc:docMk/>
            <pc:sldMk cId="543148149" sldId="277"/>
            <ac:picMk id="12" creationId="{0DB2CB50-4F32-19BB-5A2F-C8C1E8099D2E}"/>
          </ac:picMkLst>
        </pc:picChg>
        <pc:picChg chg="add del mod">
          <ac:chgData name="Roberto Gallardo" userId="49a044883f185952" providerId="LiveId" clId="{F4D957F6-5F28-4DDF-9F2A-0CB3D547903A}" dt="2022-07-09T12:52:20.591" v="8048" actId="478"/>
          <ac:picMkLst>
            <pc:docMk/>
            <pc:sldMk cId="543148149" sldId="277"/>
            <ac:picMk id="13" creationId="{CFE2EE2F-7A19-368F-E1A6-0DFA1BFEC516}"/>
          </ac:picMkLst>
        </pc:picChg>
        <pc:picChg chg="add del mod">
          <ac:chgData name="Roberto Gallardo" userId="49a044883f185952" providerId="LiveId" clId="{F4D957F6-5F28-4DDF-9F2A-0CB3D547903A}" dt="2022-07-09T12:53:46.507" v="8051" actId="478"/>
          <ac:picMkLst>
            <pc:docMk/>
            <pc:sldMk cId="543148149" sldId="277"/>
            <ac:picMk id="14" creationId="{240B76E8-1524-A684-469D-CA55C48CE23D}"/>
          </ac:picMkLst>
        </pc:picChg>
        <pc:picChg chg="add mod">
          <ac:chgData name="Roberto Gallardo" userId="49a044883f185952" providerId="LiveId" clId="{F4D957F6-5F28-4DDF-9F2A-0CB3D547903A}" dt="2022-07-09T12:54:16.818" v="8096"/>
          <ac:picMkLst>
            <pc:docMk/>
            <pc:sldMk cId="543148149" sldId="277"/>
            <ac:picMk id="15" creationId="{B191D37B-F1CD-5A9C-06B8-E0E4181E0306}"/>
          </ac:picMkLst>
        </pc:picChg>
      </pc:sldChg>
      <pc:sldChg chg="addSp delSp modSp add mod ord">
        <pc:chgData name="Roberto Gallardo" userId="49a044883f185952" providerId="LiveId" clId="{F4D957F6-5F28-4DDF-9F2A-0CB3D547903A}" dt="2022-07-09T13:56:11.511" v="8162"/>
        <pc:sldMkLst>
          <pc:docMk/>
          <pc:sldMk cId="349244952" sldId="278"/>
        </pc:sldMkLst>
        <pc:spChg chg="mod">
          <ac:chgData name="Roberto Gallardo" userId="49a044883f185952" providerId="LiveId" clId="{F4D957F6-5F28-4DDF-9F2A-0CB3D547903A}" dt="2022-07-09T13:21:50.119" v="8150" actId="20577"/>
          <ac:spMkLst>
            <pc:docMk/>
            <pc:sldMk cId="349244952" sldId="278"/>
            <ac:spMk id="2" creationId="{C03B1400-5F72-D252-1DBE-EDCD6E63B07C}"/>
          </ac:spMkLst>
        </pc:spChg>
        <pc:spChg chg="mod">
          <ac:chgData name="Roberto Gallardo" userId="49a044883f185952" providerId="LiveId" clId="{F4D957F6-5F28-4DDF-9F2A-0CB3D547903A}" dt="2022-07-09T13:55:33.596" v="8161" actId="6549"/>
          <ac:spMkLst>
            <pc:docMk/>
            <pc:sldMk cId="349244952" sldId="278"/>
            <ac:spMk id="8" creationId="{40AF43CC-DD34-B66D-2100-C70E6AB3ED53}"/>
          </ac:spMkLst>
        </pc:spChg>
        <pc:graphicFrameChg chg="mod">
          <ac:chgData name="Roberto Gallardo" userId="49a044883f185952" providerId="LiveId" clId="{F4D957F6-5F28-4DDF-9F2A-0CB3D547903A}" dt="2022-07-09T12:50:16.594" v="8030"/>
          <ac:graphicFrameMkLst>
            <pc:docMk/>
            <pc:sldMk cId="349244952" sldId="278"/>
            <ac:graphicFrameMk id="10" creationId="{FD2FC231-ACEF-5FF2-C4CE-DFF89EB85588}"/>
          </ac:graphicFrameMkLst>
        </pc:graphicFrameChg>
        <pc:picChg chg="add del mod">
          <ac:chgData name="Roberto Gallardo" userId="49a044883f185952" providerId="LiveId" clId="{F4D957F6-5F28-4DDF-9F2A-0CB3D547903A}" dt="2022-07-09T13:21:38.290" v="8097" actId="478"/>
          <ac:picMkLst>
            <pc:docMk/>
            <pc:sldMk cId="349244952" sldId="278"/>
            <ac:picMk id="7" creationId="{84A10A3A-1472-C43B-0AE3-BD4DBCDECAC4}"/>
          </ac:picMkLst>
        </pc:picChg>
        <pc:picChg chg="del">
          <ac:chgData name="Roberto Gallardo" userId="49a044883f185952" providerId="LiveId" clId="{F4D957F6-5F28-4DDF-9F2A-0CB3D547903A}" dt="2022-07-09T12:48:28.958" v="7918" actId="478"/>
          <ac:picMkLst>
            <pc:docMk/>
            <pc:sldMk cId="349244952" sldId="278"/>
            <ac:picMk id="9" creationId="{FFA57C8B-4C3E-6D4F-82A8-EE27683795FD}"/>
          </ac:picMkLst>
        </pc:picChg>
        <pc:picChg chg="add mod">
          <ac:chgData name="Roberto Gallardo" userId="49a044883f185952" providerId="LiveId" clId="{F4D957F6-5F28-4DDF-9F2A-0CB3D547903A}" dt="2022-07-09T13:56:11.511" v="8162"/>
          <ac:picMkLst>
            <pc:docMk/>
            <pc:sldMk cId="349244952" sldId="278"/>
            <ac:picMk id="11" creationId="{DB0A9B91-BDA9-CBFA-5C74-903665FB0440}"/>
          </ac:picMkLst>
        </pc:picChg>
      </pc:sldChg>
    </pc:docChg>
  </pc:docChgLst>
  <pc:docChgLst>
    <pc:chgData name="Roberto Gallardo" userId="49a044883f185952" providerId="LiveId" clId="{C686CE78-4599-4D10-96F1-DED3EA402F7C}"/>
    <pc:docChg chg="custSel addSld delSld modSld modMainMaster replTag">
      <pc:chgData name="Roberto Gallardo" userId="49a044883f185952" providerId="LiveId" clId="{C686CE78-4599-4D10-96F1-DED3EA402F7C}" dt="2023-01-31T22:39:00.830" v="231" actId="1036"/>
      <pc:docMkLst>
        <pc:docMk/>
      </pc:docMkLst>
      <pc:sldChg chg="modSp mod">
        <pc:chgData name="Roberto Gallardo" userId="49a044883f185952" providerId="LiveId" clId="{C686CE78-4599-4D10-96F1-DED3EA402F7C}" dt="2023-01-31T22:38:43.087" v="227" actId="20577"/>
        <pc:sldMkLst>
          <pc:docMk/>
          <pc:sldMk cId="2846901679" sldId="256"/>
        </pc:sldMkLst>
        <pc:spChg chg="mod">
          <ac:chgData name="Roberto Gallardo" userId="49a044883f185952" providerId="LiveId" clId="{C686CE78-4599-4D10-96F1-DED3EA402F7C}" dt="2023-01-31T22:38:43.087" v="227" actId="20577"/>
          <ac:spMkLst>
            <pc:docMk/>
            <pc:sldMk cId="2846901679" sldId="256"/>
            <ac:spMk id="7" creationId="{B1E0ABEC-554C-720A-2772-F0324C8E93CA}"/>
          </ac:spMkLst>
        </pc:spChg>
      </pc:sldChg>
      <pc:sldChg chg="modSp mod">
        <pc:chgData name="Roberto Gallardo" userId="49a044883f185952" providerId="LiveId" clId="{C686CE78-4599-4D10-96F1-DED3EA402F7C}" dt="2023-01-31T22:39:00.830" v="231" actId="1036"/>
        <pc:sldMkLst>
          <pc:docMk/>
          <pc:sldMk cId="513409896" sldId="276"/>
        </pc:sldMkLst>
        <pc:spChg chg="mod">
          <ac:chgData name="Roberto Gallardo" userId="49a044883f185952" providerId="LiveId" clId="{C686CE78-4599-4D10-96F1-DED3EA402F7C}" dt="2023-01-31T22:39:00.830" v="231" actId="1036"/>
          <ac:spMkLst>
            <pc:docMk/>
            <pc:sldMk cId="513409896" sldId="276"/>
            <ac:spMk id="3" creationId="{AADBAC77-8094-925B-9C83-2132E5A4A84C}"/>
          </ac:spMkLst>
        </pc:spChg>
        <pc:spChg chg="mod">
          <ac:chgData name="Roberto Gallardo" userId="49a044883f185952" providerId="LiveId" clId="{C686CE78-4599-4D10-96F1-DED3EA402F7C}" dt="2023-01-31T22:39:00.830" v="231" actId="1036"/>
          <ac:spMkLst>
            <pc:docMk/>
            <pc:sldMk cId="513409896" sldId="276"/>
            <ac:spMk id="5" creationId="{EA0F984F-F15C-B54F-E4CE-75954416187D}"/>
          </ac:spMkLst>
        </pc:spChg>
      </pc:sldChg>
      <pc:sldChg chg="modSp mod">
        <pc:chgData name="Roberto Gallardo" userId="49a044883f185952" providerId="LiveId" clId="{C686CE78-4599-4D10-96F1-DED3EA402F7C}" dt="2023-01-15T18:21:29.704" v="4" actId="20577"/>
        <pc:sldMkLst>
          <pc:docMk/>
          <pc:sldMk cId="349244952" sldId="278"/>
        </pc:sldMkLst>
        <pc:spChg chg="mod">
          <ac:chgData name="Roberto Gallardo" userId="49a044883f185952" providerId="LiveId" clId="{C686CE78-4599-4D10-96F1-DED3EA402F7C}" dt="2023-01-15T18:21:29.704" v="4" actId="20577"/>
          <ac:spMkLst>
            <pc:docMk/>
            <pc:sldMk cId="349244952" sldId="278"/>
            <ac:spMk id="2" creationId="{C03B1400-5F72-D252-1DBE-EDCD6E63B07C}"/>
          </ac:spMkLst>
        </pc:spChg>
      </pc:sldChg>
      <pc:sldChg chg="addSp delSp modSp mod">
        <pc:chgData name="Roberto Gallardo" userId="49a044883f185952" providerId="LiveId" clId="{C686CE78-4599-4D10-96F1-DED3EA402F7C}" dt="2023-01-18T00:25:02.029" v="214" actId="20577"/>
        <pc:sldMkLst>
          <pc:docMk/>
          <pc:sldMk cId="3324519687" sldId="293"/>
        </pc:sldMkLst>
        <pc:spChg chg="mod">
          <ac:chgData name="Roberto Gallardo" userId="49a044883f185952" providerId="LiveId" clId="{C686CE78-4599-4D10-96F1-DED3EA402F7C}" dt="2023-01-18T00:24:46.264" v="35" actId="948"/>
          <ac:spMkLst>
            <pc:docMk/>
            <pc:sldMk cId="3324519687" sldId="293"/>
            <ac:spMk id="2" creationId="{C03B1400-5F72-D252-1DBE-EDCD6E63B07C}"/>
          </ac:spMkLst>
        </pc:spChg>
        <pc:spChg chg="mod">
          <ac:chgData name="Roberto Gallardo" userId="49a044883f185952" providerId="LiveId" clId="{C686CE78-4599-4D10-96F1-DED3EA402F7C}" dt="2023-01-18T00:25:02.029" v="214" actId="20577"/>
          <ac:spMkLst>
            <pc:docMk/>
            <pc:sldMk cId="3324519687" sldId="293"/>
            <ac:spMk id="3" creationId="{AF651823-818E-912D-E331-CDEB914505A8}"/>
          </ac:spMkLst>
        </pc:spChg>
        <pc:spChg chg="add del mod modVis">
          <ac:chgData name="Roberto Gallardo" userId="49a044883f185952" providerId="LiveId" clId="{C686CE78-4599-4D10-96F1-DED3EA402F7C}" dt="2023-01-18T00:24:46.332" v="114"/>
          <ac:spMkLst>
            <pc:docMk/>
            <pc:sldMk cId="3324519687" sldId="293"/>
            <ac:spMk id="5" creationId="{844468D7-38F3-A5D5-D771-5523270D959F}"/>
          </ac:spMkLst>
        </pc:spChg>
        <pc:graphicFrameChg chg="add mod ord modVis replST">
          <ac:chgData name="Roberto Gallardo" userId="49a044883f185952" providerId="LiveId" clId="{C686CE78-4599-4D10-96F1-DED3EA402F7C}" dt="2023-01-18T00:24:46.352" v="130"/>
          <ac:graphicFrameMkLst>
            <pc:docMk/>
            <pc:sldMk cId="3324519687" sldId="293"/>
            <ac:graphicFrameMk id="8" creationId="{57EAAF7B-280C-3784-2092-B19FC599496E}"/>
          </ac:graphicFrameMkLst>
        </pc:graphicFrameChg>
      </pc:sldChg>
      <pc:sldChg chg="del">
        <pc:chgData name="Roberto Gallardo" userId="49a044883f185952" providerId="LiveId" clId="{C686CE78-4599-4D10-96F1-DED3EA402F7C}" dt="2023-01-17T23:32:09.637" v="6" actId="47"/>
        <pc:sldMkLst>
          <pc:docMk/>
          <pc:sldMk cId="230398305" sldId="301"/>
        </pc:sldMkLst>
      </pc:sldChg>
      <pc:sldChg chg="add">
        <pc:chgData name="Roberto Gallardo" userId="49a044883f185952" providerId="LiveId" clId="{C686CE78-4599-4D10-96F1-DED3EA402F7C}" dt="2023-01-17T23:32:07.917" v="5"/>
        <pc:sldMkLst>
          <pc:docMk/>
          <pc:sldMk cId="1515423683" sldId="302"/>
        </pc:sldMkLst>
      </pc:sldChg>
      <pc:sldChg chg="add del">
        <pc:chgData name="Roberto Gallardo" userId="49a044883f185952" providerId="LiveId" clId="{C686CE78-4599-4D10-96F1-DED3EA402F7C}" dt="2023-01-17T23:36:45.025" v="9" actId="47"/>
        <pc:sldMkLst>
          <pc:docMk/>
          <pc:sldMk cId="1864939043" sldId="303"/>
        </pc:sldMkLst>
      </pc:sldChg>
      <pc:sldChg chg="add mod">
        <pc:chgData name="Roberto Gallardo" userId="49a044883f185952" providerId="LiveId" clId="{C686CE78-4599-4D10-96F1-DED3EA402F7C}" dt="2023-01-18T00:23:23.345" v="19" actId="27918"/>
        <pc:sldMkLst>
          <pc:docMk/>
          <pc:sldMk cId="2841628872" sldId="303"/>
        </pc:sldMkLst>
      </pc:sldChg>
      <pc:sldChg chg="add del">
        <pc:chgData name="Roberto Gallardo" userId="49a044883f185952" providerId="LiveId" clId="{C686CE78-4599-4D10-96F1-DED3EA402F7C}" dt="2023-01-17T23:36:45.025" v="9" actId="47"/>
        <pc:sldMkLst>
          <pc:docMk/>
          <pc:sldMk cId="2841628872" sldId="304"/>
        </pc:sldMkLst>
      </pc:sldChg>
      <pc:sldChg chg="add mod">
        <pc:chgData name="Roberto Gallardo" userId="49a044883f185952" providerId="LiveId" clId="{C686CE78-4599-4D10-96F1-DED3EA402F7C}" dt="2023-01-18T00:23:52.158" v="26" actId="27918"/>
        <pc:sldMkLst>
          <pc:docMk/>
          <pc:sldMk cId="3084076302" sldId="304"/>
        </pc:sldMkLst>
      </pc:sldChg>
      <pc:sldChg chg="add mod">
        <pc:chgData name="Roberto Gallardo" userId="49a044883f185952" providerId="LiveId" clId="{C686CE78-4599-4D10-96F1-DED3EA402F7C}" dt="2023-01-18T00:24:26.004" v="33" actId="27918"/>
        <pc:sldMkLst>
          <pc:docMk/>
          <pc:sldMk cId="473712435" sldId="305"/>
        </pc:sldMkLst>
      </pc:sldChg>
      <pc:sldMasterChg chg="addSp delSp modSp mod">
        <pc:chgData name="Roberto Gallardo" userId="49a044883f185952" providerId="LiveId" clId="{C686CE78-4599-4D10-96F1-DED3EA402F7C}" dt="2023-01-18T00:24:46.373" v="148"/>
        <pc:sldMasterMkLst>
          <pc:docMk/>
          <pc:sldMasterMk cId="3307510214" sldId="2147483648"/>
        </pc:sldMasterMkLst>
        <pc:spChg chg="mod">
          <ac:chgData name="Roberto Gallardo" userId="49a044883f185952" providerId="LiveId" clId="{C686CE78-4599-4D10-96F1-DED3EA402F7C}" dt="2023-01-18T00:24:46.305" v="73" actId="948"/>
          <ac:spMkLst>
            <pc:docMk/>
            <pc:sldMasterMk cId="3307510214" sldId="2147483648"/>
            <ac:spMk id="2" creationId="{41467D0C-C34C-D407-FA21-BABC59489709}"/>
          </ac:spMkLst>
        </pc:spChg>
        <pc:spChg chg="add del mod modVis">
          <ac:chgData name="Roberto Gallardo" userId="49a044883f185952" providerId="LiveId" clId="{C686CE78-4599-4D10-96F1-DED3EA402F7C}" dt="2023-01-18T00:24:46.353" v="132"/>
          <ac:spMkLst>
            <pc:docMk/>
            <pc:sldMasterMk cId="3307510214" sldId="2147483648"/>
            <ac:spMk id="7" creationId="{99CC72A2-40FC-D287-27BB-9AC0B2A7D4DA}"/>
          </ac:spMkLst>
        </pc:spChg>
        <pc:graphicFrameChg chg="add mod ord modVis replST">
          <ac:chgData name="Roberto Gallardo" userId="49a044883f185952" providerId="LiveId" clId="{C686CE78-4599-4D10-96F1-DED3EA402F7C}" dt="2023-01-18T00:24:46.373" v="148"/>
          <ac:graphicFrameMkLst>
            <pc:docMk/>
            <pc:sldMasterMk cId="3307510214" sldId="2147483648"/>
            <ac:graphicFrameMk id="8" creationId="{75EFAB37-C0FB-7B87-780A-589F0D690864}"/>
          </ac:graphicFrameMkLst>
        </pc:graphicFrameChg>
      </pc:sldMasterChg>
    </pc:docChg>
  </pc:docChgLst>
  <pc:docChgLst>
    <pc:chgData name="Roberto Gallardo" userId="49a044883f185952" providerId="LiveId" clId="{1A9A5981-ADF0-4F53-90C3-26FE35B7311F}"/>
    <pc:docChg chg="modSld">
      <pc:chgData name="Roberto Gallardo" userId="49a044883f185952" providerId="LiveId" clId="{1A9A5981-ADF0-4F53-90C3-26FE35B7311F}" dt="2023-01-08T20:41:28.709" v="28" actId="27918"/>
      <pc:docMkLst>
        <pc:docMk/>
      </pc:docMkLst>
      <pc:sldChg chg="modSp mod">
        <pc:chgData name="Roberto Gallardo" userId="49a044883f185952" providerId="LiveId" clId="{1A9A5981-ADF0-4F53-90C3-26FE35B7311F}" dt="2023-01-08T20:40:35.111" v="22" actId="20577"/>
        <pc:sldMkLst>
          <pc:docMk/>
          <pc:sldMk cId="2846901679" sldId="256"/>
        </pc:sldMkLst>
        <pc:spChg chg="mod">
          <ac:chgData name="Roberto Gallardo" userId="49a044883f185952" providerId="LiveId" clId="{1A9A5981-ADF0-4F53-90C3-26FE35B7311F}" dt="2023-01-08T20:40:35.111" v="22" actId="20577"/>
          <ac:spMkLst>
            <pc:docMk/>
            <pc:sldMk cId="2846901679" sldId="256"/>
            <ac:spMk id="7" creationId="{B1E0ABEC-554C-720A-2772-F0324C8E93CA}"/>
          </ac:spMkLst>
        </pc:spChg>
      </pc:sldChg>
      <pc:sldChg chg="mod">
        <pc:chgData name="Roberto Gallardo" userId="49a044883f185952" providerId="LiveId" clId="{1A9A5981-ADF0-4F53-90C3-26FE35B7311F}" dt="2023-01-08T20:41:28.709" v="28" actId="27918"/>
        <pc:sldMkLst>
          <pc:docMk/>
          <pc:sldMk cId="3877078759" sldId="260"/>
        </pc:sldMkLst>
      </pc:sldChg>
      <pc:sldChg chg="modSp mod">
        <pc:chgData name="Roberto Gallardo" userId="49a044883f185952" providerId="LiveId" clId="{1A9A5981-ADF0-4F53-90C3-26FE35B7311F}" dt="2023-01-08T20:41:00.446" v="25" actId="20577"/>
        <pc:sldMkLst>
          <pc:docMk/>
          <pc:sldMk cId="543148149" sldId="277"/>
        </pc:sldMkLst>
        <pc:spChg chg="mod">
          <ac:chgData name="Roberto Gallardo" userId="49a044883f185952" providerId="LiveId" clId="{1A9A5981-ADF0-4F53-90C3-26FE35B7311F}" dt="2023-01-08T20:41:00.446" v="25" actId="20577"/>
          <ac:spMkLst>
            <pc:docMk/>
            <pc:sldMk cId="543148149" sldId="277"/>
            <ac:spMk id="5" creationId="{6AE302AC-8931-4144-BE52-DD1A8BA82462}"/>
          </ac:spMkLst>
        </pc:spChg>
        <pc:picChg chg="ord">
          <ac:chgData name="Roberto Gallardo" userId="49a044883f185952" providerId="LiveId" clId="{1A9A5981-ADF0-4F53-90C3-26FE35B7311F}" dt="2023-01-08T20:40:55.930" v="23" actId="167"/>
          <ac:picMkLst>
            <pc:docMk/>
            <pc:sldMk cId="543148149" sldId="277"/>
            <ac:picMk id="15" creationId="{B191D37B-F1CD-5A9C-06B8-E0E4181E0306}"/>
          </ac:picMkLst>
        </pc:picChg>
      </pc:sldChg>
    </pc:docChg>
  </pc:docChgLst>
  <pc:docChgLst>
    <pc:chgData name="Roberto Gallardo" userId="49a044883f185952" providerId="LiveId" clId="{EA816444-12AF-42CB-BCED-EC7E3492E202}"/>
    <pc:docChg chg="modSld">
      <pc:chgData name="Roberto Gallardo" userId="49a044883f185952" providerId="LiveId" clId="{EA816444-12AF-42CB-BCED-EC7E3492E202}" dt="2023-02-07T23:52:31.103" v="444" actId="27918"/>
      <pc:docMkLst>
        <pc:docMk/>
      </pc:docMkLst>
      <pc:sldChg chg="modSp mod">
        <pc:chgData name="Roberto Gallardo" userId="49a044883f185952" providerId="LiveId" clId="{EA816444-12AF-42CB-BCED-EC7E3492E202}" dt="2023-02-07T23:21:13.806" v="7" actId="20577"/>
        <pc:sldMkLst>
          <pc:docMk/>
          <pc:sldMk cId="2846901679" sldId="256"/>
        </pc:sldMkLst>
        <pc:spChg chg="mod">
          <ac:chgData name="Roberto Gallardo" userId="49a044883f185952" providerId="LiveId" clId="{EA816444-12AF-42CB-BCED-EC7E3492E202}" dt="2023-02-07T23:21:13.806" v="7" actId="20577"/>
          <ac:spMkLst>
            <pc:docMk/>
            <pc:sldMk cId="2846901679" sldId="256"/>
            <ac:spMk id="7" creationId="{B1E0ABEC-554C-720A-2772-F0324C8E93CA}"/>
          </ac:spMkLst>
        </pc:spChg>
      </pc:sldChg>
      <pc:sldChg chg="mod">
        <pc:chgData name="Roberto Gallardo" userId="49a044883f185952" providerId="LiveId" clId="{EA816444-12AF-42CB-BCED-EC7E3492E202}" dt="2023-02-07T23:24:31.267" v="31" actId="27918"/>
        <pc:sldMkLst>
          <pc:docMk/>
          <pc:sldMk cId="3231157596" sldId="257"/>
        </pc:sldMkLst>
      </pc:sldChg>
      <pc:sldChg chg="mod">
        <pc:chgData name="Roberto Gallardo" userId="49a044883f185952" providerId="LiveId" clId="{EA816444-12AF-42CB-BCED-EC7E3492E202}" dt="2023-02-07T23:23:28.145" v="19" actId="27918"/>
        <pc:sldMkLst>
          <pc:docMk/>
          <pc:sldMk cId="3702837515" sldId="258"/>
        </pc:sldMkLst>
      </pc:sldChg>
      <pc:sldChg chg="mod">
        <pc:chgData name="Roberto Gallardo" userId="49a044883f185952" providerId="LiveId" clId="{EA816444-12AF-42CB-BCED-EC7E3492E202}" dt="2023-02-07T23:23:59.031" v="25" actId="27918"/>
        <pc:sldMkLst>
          <pc:docMk/>
          <pc:sldMk cId="2519083202" sldId="259"/>
        </pc:sldMkLst>
      </pc:sldChg>
      <pc:sldChg chg="mod">
        <pc:chgData name="Roberto Gallardo" userId="49a044883f185952" providerId="LiveId" clId="{EA816444-12AF-42CB-BCED-EC7E3492E202}" dt="2023-02-07T23:22:47.861" v="13" actId="27918"/>
        <pc:sldMkLst>
          <pc:docMk/>
          <pc:sldMk cId="3877078759" sldId="260"/>
        </pc:sldMkLst>
      </pc:sldChg>
      <pc:sldChg chg="mod">
        <pc:chgData name="Roberto Gallardo" userId="49a044883f185952" providerId="LiveId" clId="{EA816444-12AF-42CB-BCED-EC7E3492E202}" dt="2023-02-07T23:26:40.986" v="55" actId="27918"/>
        <pc:sldMkLst>
          <pc:docMk/>
          <pc:sldMk cId="1175010214" sldId="261"/>
        </pc:sldMkLst>
      </pc:sldChg>
      <pc:sldChg chg="addSp modSp mod">
        <pc:chgData name="Roberto Gallardo" userId="49a044883f185952" providerId="LiveId" clId="{EA816444-12AF-42CB-BCED-EC7E3492E202}" dt="2023-02-07T23:27:44.683" v="69" actId="1076"/>
        <pc:sldMkLst>
          <pc:docMk/>
          <pc:sldMk cId="1418533539" sldId="271"/>
        </pc:sldMkLst>
        <pc:picChg chg="add mod">
          <ac:chgData name="Roberto Gallardo" userId="49a044883f185952" providerId="LiveId" clId="{EA816444-12AF-42CB-BCED-EC7E3492E202}" dt="2023-02-07T23:27:44.683" v="69" actId="1076"/>
          <ac:picMkLst>
            <pc:docMk/>
            <pc:sldMk cId="1418533539" sldId="271"/>
            <ac:picMk id="6" creationId="{F62F9F21-8480-5879-42D5-5F985FBE8402}"/>
          </ac:picMkLst>
        </pc:picChg>
      </pc:sldChg>
      <pc:sldChg chg="mod">
        <pc:chgData name="Roberto Gallardo" userId="49a044883f185952" providerId="LiveId" clId="{EA816444-12AF-42CB-BCED-EC7E3492E202}" dt="2023-02-07T23:25:03.873" v="37" actId="27918"/>
        <pc:sldMkLst>
          <pc:docMk/>
          <pc:sldMk cId="2653937722" sldId="272"/>
        </pc:sldMkLst>
      </pc:sldChg>
      <pc:sldChg chg="mod">
        <pc:chgData name="Roberto Gallardo" userId="49a044883f185952" providerId="LiveId" clId="{EA816444-12AF-42CB-BCED-EC7E3492E202}" dt="2023-02-07T23:50:33.190" v="401" actId="27918"/>
        <pc:sldMkLst>
          <pc:docMk/>
          <pc:sldMk cId="2076698419" sldId="273"/>
        </pc:sldMkLst>
      </pc:sldChg>
      <pc:sldChg chg="mod">
        <pc:chgData name="Roberto Gallardo" userId="49a044883f185952" providerId="LiveId" clId="{EA816444-12AF-42CB-BCED-EC7E3492E202}" dt="2023-02-07T23:52:08.927" v="438" actId="27918"/>
        <pc:sldMkLst>
          <pc:docMk/>
          <pc:sldMk cId="3802335161" sldId="274"/>
        </pc:sldMkLst>
      </pc:sldChg>
      <pc:sldChg chg="mod">
        <pc:chgData name="Roberto Gallardo" userId="49a044883f185952" providerId="LiveId" clId="{EA816444-12AF-42CB-BCED-EC7E3492E202}" dt="2023-02-07T23:52:31.103" v="444" actId="27918"/>
        <pc:sldMkLst>
          <pc:docMk/>
          <pc:sldMk cId="4292554322" sldId="275"/>
        </pc:sldMkLst>
      </pc:sldChg>
      <pc:sldChg chg="modSp mod">
        <pc:chgData name="Roberto Gallardo" userId="49a044883f185952" providerId="LiveId" clId="{EA816444-12AF-42CB-BCED-EC7E3492E202}" dt="2023-02-07T23:51:44.262" v="434" actId="1035"/>
        <pc:sldMkLst>
          <pc:docMk/>
          <pc:sldMk cId="513409896" sldId="276"/>
        </pc:sldMkLst>
        <pc:spChg chg="mod">
          <ac:chgData name="Roberto Gallardo" userId="49a044883f185952" providerId="LiveId" clId="{EA816444-12AF-42CB-BCED-EC7E3492E202}" dt="2023-02-07T23:51:44.262" v="434" actId="1035"/>
          <ac:spMkLst>
            <pc:docMk/>
            <pc:sldMk cId="513409896" sldId="276"/>
            <ac:spMk id="21" creationId="{9A68ADBE-AECC-EE60-7E94-3675B33E08AE}"/>
          </ac:spMkLst>
        </pc:spChg>
        <pc:graphicFrameChg chg="mod">
          <ac:chgData name="Roberto Gallardo" userId="49a044883f185952" providerId="LiveId" clId="{EA816444-12AF-42CB-BCED-EC7E3492E202}" dt="2023-02-07T23:51:22.689" v="419"/>
          <ac:graphicFrameMkLst>
            <pc:docMk/>
            <pc:sldMk cId="513409896" sldId="276"/>
            <ac:graphicFrameMk id="10" creationId="{FD2FC231-ACEF-5FF2-C4CE-DFF89EB85588}"/>
          </ac:graphicFrameMkLst>
        </pc:graphicFrameChg>
        <pc:cxnChg chg="mod">
          <ac:chgData name="Roberto Gallardo" userId="49a044883f185952" providerId="LiveId" clId="{EA816444-12AF-42CB-BCED-EC7E3492E202}" dt="2023-02-07T23:51:38.784" v="430" actId="1036"/>
          <ac:cxnSpMkLst>
            <pc:docMk/>
            <pc:sldMk cId="513409896" sldId="276"/>
            <ac:cxnSpMk id="22" creationId="{1B423FA0-E4B3-6570-929B-A9283D503787}"/>
          </ac:cxnSpMkLst>
        </pc:cxnChg>
        <pc:cxnChg chg="mod">
          <ac:chgData name="Roberto Gallardo" userId="49a044883f185952" providerId="LiveId" clId="{EA816444-12AF-42CB-BCED-EC7E3492E202}" dt="2023-02-07T23:51:15.619" v="417" actId="1035"/>
          <ac:cxnSpMkLst>
            <pc:docMk/>
            <pc:sldMk cId="513409896" sldId="276"/>
            <ac:cxnSpMk id="23" creationId="{D616797E-0044-3804-BA5A-23B8EB309CA5}"/>
          </ac:cxnSpMkLst>
        </pc:cxnChg>
        <pc:cxnChg chg="mod">
          <ac:chgData name="Roberto Gallardo" userId="49a044883f185952" providerId="LiveId" clId="{EA816444-12AF-42CB-BCED-EC7E3492E202}" dt="2023-02-07T23:51:20.293" v="418" actId="14100"/>
          <ac:cxnSpMkLst>
            <pc:docMk/>
            <pc:sldMk cId="513409896" sldId="276"/>
            <ac:cxnSpMk id="24" creationId="{20A6256E-6780-BAE0-B803-D02FE024579F}"/>
          </ac:cxnSpMkLst>
        </pc:cxnChg>
        <pc:cxnChg chg="mod">
          <ac:chgData name="Roberto Gallardo" userId="49a044883f185952" providerId="LiveId" clId="{EA816444-12AF-42CB-BCED-EC7E3492E202}" dt="2023-02-07T23:51:38.784" v="430" actId="1036"/>
          <ac:cxnSpMkLst>
            <pc:docMk/>
            <pc:sldMk cId="513409896" sldId="276"/>
            <ac:cxnSpMk id="25" creationId="{62B7492E-2C75-E0CD-947E-C582F412F7D7}"/>
          </ac:cxnSpMkLst>
        </pc:cxnChg>
      </pc:sldChg>
      <pc:sldChg chg="mod">
        <pc:chgData name="Roberto Gallardo" userId="49a044883f185952" providerId="LiveId" clId="{EA816444-12AF-42CB-BCED-EC7E3492E202}" dt="2023-02-07T23:50:12.355" v="396" actId="27918"/>
        <pc:sldMkLst>
          <pc:docMk/>
          <pc:sldMk cId="349244952" sldId="278"/>
        </pc:sldMkLst>
      </pc:sldChg>
      <pc:sldChg chg="addSp modSp mod">
        <pc:chgData name="Roberto Gallardo" userId="49a044883f185952" providerId="LiveId" clId="{EA816444-12AF-42CB-BCED-EC7E3492E202}" dt="2023-02-07T23:33:48.575" v="158" actId="1076"/>
        <pc:sldMkLst>
          <pc:docMk/>
          <pc:sldMk cId="2124848710" sldId="281"/>
        </pc:sldMkLst>
        <pc:picChg chg="add mod">
          <ac:chgData name="Roberto Gallardo" userId="49a044883f185952" providerId="LiveId" clId="{EA816444-12AF-42CB-BCED-EC7E3492E202}" dt="2023-02-07T23:33:48.575" v="158" actId="1076"/>
          <ac:picMkLst>
            <pc:docMk/>
            <pc:sldMk cId="2124848710" sldId="281"/>
            <ac:picMk id="5" creationId="{A0949407-F65E-DBD8-37FA-DAF9B709C4A5}"/>
          </ac:picMkLst>
        </pc:picChg>
      </pc:sldChg>
      <pc:sldChg chg="addSp modSp mod">
        <pc:chgData name="Roberto Gallardo" userId="49a044883f185952" providerId="LiveId" clId="{EA816444-12AF-42CB-BCED-EC7E3492E202}" dt="2023-02-07T23:34:59.508" v="174" actId="1076"/>
        <pc:sldMkLst>
          <pc:docMk/>
          <pc:sldMk cId="2028175529" sldId="282"/>
        </pc:sldMkLst>
        <pc:picChg chg="add mod">
          <ac:chgData name="Roberto Gallardo" userId="49a044883f185952" providerId="LiveId" clId="{EA816444-12AF-42CB-BCED-EC7E3492E202}" dt="2023-02-07T23:34:59.508" v="174" actId="1076"/>
          <ac:picMkLst>
            <pc:docMk/>
            <pc:sldMk cId="2028175529" sldId="282"/>
            <ac:picMk id="5" creationId="{475C80D9-EDDD-5480-F831-712110FB2C95}"/>
          </ac:picMkLst>
        </pc:picChg>
      </pc:sldChg>
      <pc:sldChg chg="addSp modSp mod">
        <pc:chgData name="Roberto Gallardo" userId="49a044883f185952" providerId="LiveId" clId="{EA816444-12AF-42CB-BCED-EC7E3492E202}" dt="2023-02-07T23:36:56.224" v="191" actId="1076"/>
        <pc:sldMkLst>
          <pc:docMk/>
          <pc:sldMk cId="1326517747" sldId="283"/>
        </pc:sldMkLst>
        <pc:picChg chg="add mod">
          <ac:chgData name="Roberto Gallardo" userId="49a044883f185952" providerId="LiveId" clId="{EA816444-12AF-42CB-BCED-EC7E3492E202}" dt="2023-02-07T23:36:56.224" v="191" actId="1076"/>
          <ac:picMkLst>
            <pc:docMk/>
            <pc:sldMk cId="1326517747" sldId="283"/>
            <ac:picMk id="5" creationId="{F8975853-83FE-ACB3-00B5-94FC8D528009}"/>
          </ac:picMkLst>
        </pc:picChg>
      </pc:sldChg>
      <pc:sldChg chg="addSp modSp mod">
        <pc:chgData name="Roberto Gallardo" userId="49a044883f185952" providerId="LiveId" clId="{EA816444-12AF-42CB-BCED-EC7E3492E202}" dt="2023-02-07T23:38:59.180" v="210" actId="14100"/>
        <pc:sldMkLst>
          <pc:docMk/>
          <pc:sldMk cId="783739251" sldId="284"/>
        </pc:sldMkLst>
        <pc:picChg chg="add mod">
          <ac:chgData name="Roberto Gallardo" userId="49a044883f185952" providerId="LiveId" clId="{EA816444-12AF-42CB-BCED-EC7E3492E202}" dt="2023-02-07T23:38:59.180" v="210" actId="14100"/>
          <ac:picMkLst>
            <pc:docMk/>
            <pc:sldMk cId="783739251" sldId="284"/>
            <ac:picMk id="5" creationId="{8D434528-539D-C97C-ECEE-B126BEE65F79}"/>
          </ac:picMkLst>
        </pc:picChg>
      </pc:sldChg>
      <pc:sldChg chg="addSp modSp mod">
        <pc:chgData name="Roberto Gallardo" userId="49a044883f185952" providerId="LiveId" clId="{EA816444-12AF-42CB-BCED-EC7E3492E202}" dt="2023-02-07T23:40:08.714" v="229" actId="1076"/>
        <pc:sldMkLst>
          <pc:docMk/>
          <pc:sldMk cId="1676122233" sldId="285"/>
        </pc:sldMkLst>
        <pc:picChg chg="add mod">
          <ac:chgData name="Roberto Gallardo" userId="49a044883f185952" providerId="LiveId" clId="{EA816444-12AF-42CB-BCED-EC7E3492E202}" dt="2023-02-07T23:40:08.714" v="229" actId="1076"/>
          <ac:picMkLst>
            <pc:docMk/>
            <pc:sldMk cId="1676122233" sldId="285"/>
            <ac:picMk id="5" creationId="{B4502745-FB5D-7513-0F17-9B2D3489D7FB}"/>
          </ac:picMkLst>
        </pc:picChg>
      </pc:sldChg>
      <pc:sldChg chg="addSp modSp mod">
        <pc:chgData name="Roberto Gallardo" userId="49a044883f185952" providerId="LiveId" clId="{EA816444-12AF-42CB-BCED-EC7E3492E202}" dt="2023-02-07T23:41:14.808" v="245" actId="1076"/>
        <pc:sldMkLst>
          <pc:docMk/>
          <pc:sldMk cId="3100398757" sldId="286"/>
        </pc:sldMkLst>
        <pc:picChg chg="add mod">
          <ac:chgData name="Roberto Gallardo" userId="49a044883f185952" providerId="LiveId" clId="{EA816444-12AF-42CB-BCED-EC7E3492E202}" dt="2023-02-07T23:41:14.808" v="245" actId="1076"/>
          <ac:picMkLst>
            <pc:docMk/>
            <pc:sldMk cId="3100398757" sldId="286"/>
            <ac:picMk id="5" creationId="{1028A14C-4417-44AF-ACA8-F61BBECD1425}"/>
          </ac:picMkLst>
        </pc:picChg>
      </pc:sldChg>
      <pc:sldChg chg="addSp modSp mod">
        <pc:chgData name="Roberto Gallardo" userId="49a044883f185952" providerId="LiveId" clId="{EA816444-12AF-42CB-BCED-EC7E3492E202}" dt="2023-02-07T23:42:28.416" v="264" actId="1076"/>
        <pc:sldMkLst>
          <pc:docMk/>
          <pc:sldMk cId="1546475425" sldId="287"/>
        </pc:sldMkLst>
        <pc:picChg chg="add mod">
          <ac:chgData name="Roberto Gallardo" userId="49a044883f185952" providerId="LiveId" clId="{EA816444-12AF-42CB-BCED-EC7E3492E202}" dt="2023-02-07T23:42:28.416" v="264" actId="1076"/>
          <ac:picMkLst>
            <pc:docMk/>
            <pc:sldMk cId="1546475425" sldId="287"/>
            <ac:picMk id="5" creationId="{C5E1E78C-2FDB-681C-1389-1E235E3F9502}"/>
          </ac:picMkLst>
        </pc:picChg>
      </pc:sldChg>
      <pc:sldChg chg="addSp modSp mod">
        <pc:chgData name="Roberto Gallardo" userId="49a044883f185952" providerId="LiveId" clId="{EA816444-12AF-42CB-BCED-EC7E3492E202}" dt="2023-02-07T23:44:48.827" v="309" actId="1037"/>
        <pc:sldMkLst>
          <pc:docMk/>
          <pc:sldMk cId="1380517306" sldId="288"/>
        </pc:sldMkLst>
        <pc:picChg chg="add mod">
          <ac:chgData name="Roberto Gallardo" userId="49a044883f185952" providerId="LiveId" clId="{EA816444-12AF-42CB-BCED-EC7E3492E202}" dt="2023-02-07T23:44:48.827" v="309" actId="1037"/>
          <ac:picMkLst>
            <pc:docMk/>
            <pc:sldMk cId="1380517306" sldId="288"/>
            <ac:picMk id="5" creationId="{7ED21A6B-473E-9465-383A-3921B8C23BE3}"/>
          </ac:picMkLst>
        </pc:picChg>
      </pc:sldChg>
      <pc:sldChg chg="addSp modSp mod">
        <pc:chgData name="Roberto Gallardo" userId="49a044883f185952" providerId="LiveId" clId="{EA816444-12AF-42CB-BCED-EC7E3492E202}" dt="2023-02-07T23:46:01.216" v="333" actId="1038"/>
        <pc:sldMkLst>
          <pc:docMk/>
          <pc:sldMk cId="1388671151" sldId="289"/>
        </pc:sldMkLst>
        <pc:picChg chg="add mod">
          <ac:chgData name="Roberto Gallardo" userId="49a044883f185952" providerId="LiveId" clId="{EA816444-12AF-42CB-BCED-EC7E3492E202}" dt="2023-02-07T23:46:01.216" v="333" actId="1038"/>
          <ac:picMkLst>
            <pc:docMk/>
            <pc:sldMk cId="1388671151" sldId="289"/>
            <ac:picMk id="5" creationId="{7FF4B99B-DBD3-B8AA-E947-1A0DA9584571}"/>
          </ac:picMkLst>
        </pc:picChg>
      </pc:sldChg>
      <pc:sldChg chg="addSp modSp mod">
        <pc:chgData name="Roberto Gallardo" userId="49a044883f185952" providerId="LiveId" clId="{EA816444-12AF-42CB-BCED-EC7E3492E202}" dt="2023-02-07T23:48:30.313" v="371" actId="1076"/>
        <pc:sldMkLst>
          <pc:docMk/>
          <pc:sldMk cId="2355376039" sldId="290"/>
        </pc:sldMkLst>
        <pc:picChg chg="add mod">
          <ac:chgData name="Roberto Gallardo" userId="49a044883f185952" providerId="LiveId" clId="{EA816444-12AF-42CB-BCED-EC7E3492E202}" dt="2023-02-07T23:48:30.313" v="371" actId="1076"/>
          <ac:picMkLst>
            <pc:docMk/>
            <pc:sldMk cId="2355376039" sldId="290"/>
            <ac:picMk id="8" creationId="{CED1A025-A5E6-E98F-C378-8111305D32B8}"/>
          </ac:picMkLst>
        </pc:picChg>
      </pc:sldChg>
      <pc:sldChg chg="addSp modSp mod">
        <pc:chgData name="Roberto Gallardo" userId="49a044883f185952" providerId="LiveId" clId="{EA816444-12AF-42CB-BCED-EC7E3492E202}" dt="2023-02-07T23:49:48.030" v="391" actId="1076"/>
        <pc:sldMkLst>
          <pc:docMk/>
          <pc:sldMk cId="3757257295" sldId="291"/>
        </pc:sldMkLst>
        <pc:picChg chg="add mod">
          <ac:chgData name="Roberto Gallardo" userId="49a044883f185952" providerId="LiveId" clId="{EA816444-12AF-42CB-BCED-EC7E3492E202}" dt="2023-02-07T23:49:48.030" v="391" actId="1076"/>
          <ac:picMkLst>
            <pc:docMk/>
            <pc:sldMk cId="3757257295" sldId="291"/>
            <ac:picMk id="7" creationId="{74117F0B-2469-95E4-7E0C-A1F0CA70CD25}"/>
          </ac:picMkLst>
        </pc:picChg>
      </pc:sldChg>
      <pc:sldChg chg="addSp modSp mod">
        <pc:chgData name="Roberto Gallardo" userId="49a044883f185952" providerId="LiveId" clId="{EA816444-12AF-42CB-BCED-EC7E3492E202}" dt="2023-02-07T23:43:31.809" v="282" actId="1076"/>
        <pc:sldMkLst>
          <pc:docMk/>
          <pc:sldMk cId="1259856727" sldId="292"/>
        </pc:sldMkLst>
        <pc:picChg chg="add mod">
          <ac:chgData name="Roberto Gallardo" userId="49a044883f185952" providerId="LiveId" clId="{EA816444-12AF-42CB-BCED-EC7E3492E202}" dt="2023-02-07T23:43:31.809" v="282" actId="1076"/>
          <ac:picMkLst>
            <pc:docMk/>
            <pc:sldMk cId="1259856727" sldId="292"/>
            <ac:picMk id="5" creationId="{28BDC168-7160-3C58-F722-AB78B3D0BD3C}"/>
          </ac:picMkLst>
        </pc:picChg>
      </pc:sldChg>
      <pc:sldChg chg="addSp modSp mod">
        <pc:chgData name="Roberto Gallardo" userId="49a044883f185952" providerId="LiveId" clId="{EA816444-12AF-42CB-BCED-EC7E3492E202}" dt="2023-02-07T23:32:36.956" v="141" actId="14100"/>
        <pc:sldMkLst>
          <pc:docMk/>
          <pc:sldMk cId="3324519687" sldId="293"/>
        </pc:sldMkLst>
        <pc:picChg chg="add mod">
          <ac:chgData name="Roberto Gallardo" userId="49a044883f185952" providerId="LiveId" clId="{EA816444-12AF-42CB-BCED-EC7E3492E202}" dt="2023-02-07T23:32:36.956" v="141" actId="14100"/>
          <ac:picMkLst>
            <pc:docMk/>
            <pc:sldMk cId="3324519687" sldId="293"/>
            <ac:picMk id="7" creationId="{01831CE0-3306-7644-F88B-5DEC70FB0C99}"/>
          </ac:picMkLst>
        </pc:picChg>
      </pc:sldChg>
      <pc:sldChg chg="addSp modSp mod">
        <pc:chgData name="Roberto Gallardo" userId="49a044883f185952" providerId="LiveId" clId="{EA816444-12AF-42CB-BCED-EC7E3492E202}" dt="2023-02-07T23:30:02.250" v="105" actId="1076"/>
        <pc:sldMkLst>
          <pc:docMk/>
          <pc:sldMk cId="3256182630" sldId="295"/>
        </pc:sldMkLst>
        <pc:picChg chg="add mod">
          <ac:chgData name="Roberto Gallardo" userId="49a044883f185952" providerId="LiveId" clId="{EA816444-12AF-42CB-BCED-EC7E3492E202}" dt="2023-02-07T23:30:02.250" v="105" actId="1076"/>
          <ac:picMkLst>
            <pc:docMk/>
            <pc:sldMk cId="3256182630" sldId="295"/>
            <ac:picMk id="6" creationId="{A3EA4A4C-BCA1-8FDA-D1FD-FA05E8298BD6}"/>
          </ac:picMkLst>
        </pc:picChg>
      </pc:sldChg>
      <pc:sldChg chg="addSp modSp mod">
        <pc:chgData name="Roberto Gallardo" userId="49a044883f185952" providerId="LiveId" clId="{EA816444-12AF-42CB-BCED-EC7E3492E202}" dt="2023-02-07T23:31:18.925" v="123" actId="1076"/>
        <pc:sldMkLst>
          <pc:docMk/>
          <pc:sldMk cId="4057156843" sldId="296"/>
        </pc:sldMkLst>
        <pc:picChg chg="add mod">
          <ac:chgData name="Roberto Gallardo" userId="49a044883f185952" providerId="LiveId" clId="{EA816444-12AF-42CB-BCED-EC7E3492E202}" dt="2023-02-07T23:31:18.925" v="123" actId="1076"/>
          <ac:picMkLst>
            <pc:docMk/>
            <pc:sldMk cId="4057156843" sldId="296"/>
            <ac:picMk id="6" creationId="{F008FCD4-DAD8-C43A-D838-476BF79AE0E0}"/>
          </ac:picMkLst>
        </pc:picChg>
      </pc:sldChg>
      <pc:sldChg chg="addSp modSp mod">
        <pc:chgData name="Roberto Gallardo" userId="49a044883f185952" providerId="LiveId" clId="{EA816444-12AF-42CB-BCED-EC7E3492E202}" dt="2023-02-07T23:28:42.570" v="87" actId="1076"/>
        <pc:sldMkLst>
          <pc:docMk/>
          <pc:sldMk cId="2080110827" sldId="297"/>
        </pc:sldMkLst>
        <pc:picChg chg="add mod">
          <ac:chgData name="Roberto Gallardo" userId="49a044883f185952" providerId="LiveId" clId="{EA816444-12AF-42CB-BCED-EC7E3492E202}" dt="2023-02-07T23:28:42.570" v="87" actId="1076"/>
          <ac:picMkLst>
            <pc:docMk/>
            <pc:sldMk cId="2080110827" sldId="297"/>
            <ac:picMk id="6" creationId="{8783B78A-E096-3062-5227-655EC1E5A6D2}"/>
          </ac:picMkLst>
        </pc:picChg>
      </pc:sldChg>
      <pc:sldChg chg="addSp modSp mod">
        <pc:chgData name="Roberto Gallardo" userId="49a044883f185952" providerId="LiveId" clId="{EA816444-12AF-42CB-BCED-EC7E3492E202}" dt="2023-02-07T23:28:13.928" v="80" actId="1036"/>
        <pc:sldMkLst>
          <pc:docMk/>
          <pc:sldMk cId="1532666867" sldId="298"/>
        </pc:sldMkLst>
        <pc:picChg chg="add mod">
          <ac:chgData name="Roberto Gallardo" userId="49a044883f185952" providerId="LiveId" clId="{EA816444-12AF-42CB-BCED-EC7E3492E202}" dt="2023-02-07T23:28:13.928" v="80" actId="1036"/>
          <ac:picMkLst>
            <pc:docMk/>
            <pc:sldMk cId="1532666867" sldId="298"/>
            <ac:picMk id="6" creationId="{C00E5955-BE21-17F2-6653-01B391A563F5}"/>
          </ac:picMkLst>
        </pc:picChg>
      </pc:sldChg>
      <pc:sldChg chg="addSp modSp mod">
        <pc:chgData name="Roberto Gallardo" userId="49a044883f185952" providerId="LiveId" clId="{EA816444-12AF-42CB-BCED-EC7E3492E202}" dt="2023-02-07T23:47:16.271" v="354" actId="1037"/>
        <pc:sldMkLst>
          <pc:docMk/>
          <pc:sldMk cId="1951376777" sldId="299"/>
        </pc:sldMkLst>
        <pc:picChg chg="add mod">
          <ac:chgData name="Roberto Gallardo" userId="49a044883f185952" providerId="LiveId" clId="{EA816444-12AF-42CB-BCED-EC7E3492E202}" dt="2023-02-07T23:47:16.271" v="354" actId="1037"/>
          <ac:picMkLst>
            <pc:docMk/>
            <pc:sldMk cId="1951376777" sldId="299"/>
            <ac:picMk id="5" creationId="{69CF13D3-60D5-1060-F552-408D2051F5AC}"/>
          </ac:picMkLst>
        </pc:picChg>
      </pc:sldChg>
      <pc:sldChg chg="mod">
        <pc:chgData name="Roberto Gallardo" userId="49a044883f185952" providerId="LiveId" clId="{EA816444-12AF-42CB-BCED-EC7E3492E202}" dt="2023-02-07T23:25:38.587" v="43" actId="27918"/>
        <pc:sldMkLst>
          <pc:docMk/>
          <pc:sldMk cId="2841628872" sldId="303"/>
        </pc:sldMkLst>
      </pc:sldChg>
      <pc:sldChg chg="mod">
        <pc:chgData name="Roberto Gallardo" userId="49a044883f185952" providerId="LiveId" clId="{EA816444-12AF-42CB-BCED-EC7E3492E202}" dt="2023-02-07T23:26:09.763" v="49" actId="27918"/>
        <pc:sldMkLst>
          <pc:docMk/>
          <pc:sldMk cId="3084076302" sldId="304"/>
        </pc:sldMkLst>
      </pc:sldChg>
      <pc:sldChg chg="mod">
        <pc:chgData name="Roberto Gallardo" userId="49a044883f185952" providerId="LiveId" clId="{EA816444-12AF-42CB-BCED-EC7E3492E202}" dt="2023-02-07T23:27:08.828" v="61" actId="27918"/>
        <pc:sldMkLst>
          <pc:docMk/>
          <pc:sldMk cId="473712435" sldId="305"/>
        </pc:sldMkLst>
      </pc:sldChg>
    </pc:docChg>
  </pc:docChgLst>
  <pc:docChgLst>
    <pc:chgData name="Roberto Gallardo" userId="49a044883f185952" providerId="LiveId" clId="{25BE2D22-C10C-457D-82F3-1AE0124C2F97}"/>
    <pc:docChg chg="undo custSel addSld delSld modSld sldOrd">
      <pc:chgData name="Roberto Gallardo" userId="49a044883f185952" providerId="LiveId" clId="{25BE2D22-C10C-457D-82F3-1AE0124C2F97}" dt="2023-01-14T14:25:47.762" v="2326"/>
      <pc:docMkLst>
        <pc:docMk/>
      </pc:docMkLst>
      <pc:sldChg chg="modSp mod">
        <pc:chgData name="Roberto Gallardo" userId="49a044883f185952" providerId="LiveId" clId="{25BE2D22-C10C-457D-82F3-1AE0124C2F97}" dt="2023-01-14T12:50:38.631" v="2288" actId="255"/>
        <pc:sldMkLst>
          <pc:docMk/>
          <pc:sldMk cId="2846901679" sldId="256"/>
        </pc:sldMkLst>
        <pc:spChg chg="mod">
          <ac:chgData name="Roberto Gallardo" userId="49a044883f185952" providerId="LiveId" clId="{25BE2D22-C10C-457D-82F3-1AE0124C2F97}" dt="2023-01-09T23:48:20.133" v="113" actId="14100"/>
          <ac:spMkLst>
            <pc:docMk/>
            <pc:sldMk cId="2846901679" sldId="256"/>
            <ac:spMk id="6" creationId="{EC0D6789-6A37-0043-937E-6C3320ED0C53}"/>
          </ac:spMkLst>
        </pc:spChg>
        <pc:spChg chg="mod">
          <ac:chgData name="Roberto Gallardo" userId="49a044883f185952" providerId="LiveId" clId="{25BE2D22-C10C-457D-82F3-1AE0124C2F97}" dt="2023-01-14T12:50:38.631" v="2288" actId="255"/>
          <ac:spMkLst>
            <pc:docMk/>
            <pc:sldMk cId="2846901679" sldId="256"/>
            <ac:spMk id="7" creationId="{B1E0ABEC-554C-720A-2772-F0324C8E93CA}"/>
          </ac:spMkLst>
        </pc:spChg>
        <pc:cxnChg chg="mod">
          <ac:chgData name="Roberto Gallardo" userId="49a044883f185952" providerId="LiveId" clId="{25BE2D22-C10C-457D-82F3-1AE0124C2F97}" dt="2023-01-09T23:48:30.516" v="114" actId="1076"/>
          <ac:cxnSpMkLst>
            <pc:docMk/>
            <pc:sldMk cId="2846901679" sldId="256"/>
            <ac:cxnSpMk id="10" creationId="{13EFA7DF-2E74-6B37-435B-B8B810175C14}"/>
          </ac:cxnSpMkLst>
        </pc:cxnChg>
      </pc:sldChg>
      <pc:sldChg chg="delSp modSp mod">
        <pc:chgData name="Roberto Gallardo" userId="49a044883f185952" providerId="LiveId" clId="{25BE2D22-C10C-457D-82F3-1AE0124C2F97}" dt="2023-01-14T14:23:03.365" v="2293" actId="478"/>
        <pc:sldMkLst>
          <pc:docMk/>
          <pc:sldMk cId="3231157596" sldId="257"/>
        </pc:sldMkLst>
        <pc:spChg chg="mod">
          <ac:chgData name="Roberto Gallardo" userId="49a044883f185952" providerId="LiveId" clId="{25BE2D22-C10C-457D-82F3-1AE0124C2F97}" dt="2023-01-09T23:34:23.014" v="73" actId="20577"/>
          <ac:spMkLst>
            <pc:docMk/>
            <pc:sldMk cId="3231157596" sldId="257"/>
            <ac:spMk id="8" creationId="{40AF43CC-DD34-B66D-2100-C70E6AB3ED53}"/>
          </ac:spMkLst>
        </pc:spChg>
        <pc:picChg chg="del ord">
          <ac:chgData name="Roberto Gallardo" userId="49a044883f185952" providerId="LiveId" clId="{25BE2D22-C10C-457D-82F3-1AE0124C2F97}" dt="2023-01-14T14:23:03.365" v="2293" actId="478"/>
          <ac:picMkLst>
            <pc:docMk/>
            <pc:sldMk cId="3231157596" sldId="257"/>
            <ac:picMk id="9" creationId="{4C80B7C1-B3BA-2E43-C7BF-799C557FB131}"/>
          </ac:picMkLst>
        </pc:picChg>
      </pc:sldChg>
      <pc:sldChg chg="delSp modSp mod">
        <pc:chgData name="Roberto Gallardo" userId="49a044883f185952" providerId="LiveId" clId="{25BE2D22-C10C-457D-82F3-1AE0124C2F97}" dt="2023-01-14T14:22:57.933" v="2291" actId="478"/>
        <pc:sldMkLst>
          <pc:docMk/>
          <pc:sldMk cId="3702837515" sldId="258"/>
        </pc:sldMkLst>
        <pc:spChg chg="mod">
          <ac:chgData name="Roberto Gallardo" userId="49a044883f185952" providerId="LiveId" clId="{25BE2D22-C10C-457D-82F3-1AE0124C2F97}" dt="2023-01-09T23:34:30.617" v="77" actId="20577"/>
          <ac:spMkLst>
            <pc:docMk/>
            <pc:sldMk cId="3702837515" sldId="258"/>
            <ac:spMk id="8" creationId="{40AF43CC-DD34-B66D-2100-C70E6AB3ED53}"/>
          </ac:spMkLst>
        </pc:spChg>
        <pc:picChg chg="del ord">
          <ac:chgData name="Roberto Gallardo" userId="49a044883f185952" providerId="LiveId" clId="{25BE2D22-C10C-457D-82F3-1AE0124C2F97}" dt="2023-01-14T14:22:57.933" v="2291" actId="478"/>
          <ac:picMkLst>
            <pc:docMk/>
            <pc:sldMk cId="3702837515" sldId="258"/>
            <ac:picMk id="7" creationId="{3635A42C-C9F1-DAA3-7FE7-1EB8257A0E2E}"/>
          </ac:picMkLst>
        </pc:picChg>
      </pc:sldChg>
      <pc:sldChg chg="delSp modSp mod">
        <pc:chgData name="Roberto Gallardo" userId="49a044883f185952" providerId="LiveId" clId="{25BE2D22-C10C-457D-82F3-1AE0124C2F97}" dt="2023-01-14T14:23:01.181" v="2292" actId="478"/>
        <pc:sldMkLst>
          <pc:docMk/>
          <pc:sldMk cId="2519083202" sldId="259"/>
        </pc:sldMkLst>
        <pc:spChg chg="mod">
          <ac:chgData name="Roberto Gallardo" userId="49a044883f185952" providerId="LiveId" clId="{25BE2D22-C10C-457D-82F3-1AE0124C2F97}" dt="2023-01-09T23:34:27.118" v="75" actId="20577"/>
          <ac:spMkLst>
            <pc:docMk/>
            <pc:sldMk cId="2519083202" sldId="259"/>
            <ac:spMk id="8" creationId="{40AF43CC-DD34-B66D-2100-C70E6AB3ED53}"/>
          </ac:spMkLst>
        </pc:spChg>
        <pc:picChg chg="del ord">
          <ac:chgData name="Roberto Gallardo" userId="49a044883f185952" providerId="LiveId" clId="{25BE2D22-C10C-457D-82F3-1AE0124C2F97}" dt="2023-01-14T14:23:01.181" v="2292" actId="478"/>
          <ac:picMkLst>
            <pc:docMk/>
            <pc:sldMk cId="2519083202" sldId="259"/>
            <ac:picMk id="7" creationId="{67FD3867-05D1-0561-5CAF-29C1272358C1}"/>
          </ac:picMkLst>
        </pc:picChg>
      </pc:sldChg>
      <pc:sldChg chg="delSp modSp mod">
        <pc:chgData name="Roberto Gallardo" userId="49a044883f185952" providerId="LiveId" clId="{25BE2D22-C10C-457D-82F3-1AE0124C2F97}" dt="2023-01-14T14:22:55.473" v="2290" actId="478"/>
        <pc:sldMkLst>
          <pc:docMk/>
          <pc:sldMk cId="3877078759" sldId="260"/>
        </pc:sldMkLst>
        <pc:spChg chg="mod">
          <ac:chgData name="Roberto Gallardo" userId="49a044883f185952" providerId="LiveId" clId="{25BE2D22-C10C-457D-82F3-1AE0124C2F97}" dt="2023-01-09T23:25:34.553" v="38" actId="20577"/>
          <ac:spMkLst>
            <pc:docMk/>
            <pc:sldMk cId="3877078759" sldId="260"/>
            <ac:spMk id="2" creationId="{C03B1400-5F72-D252-1DBE-EDCD6E63B07C}"/>
          </ac:spMkLst>
        </pc:spChg>
        <pc:picChg chg="del">
          <ac:chgData name="Roberto Gallardo" userId="49a044883f185952" providerId="LiveId" clId="{25BE2D22-C10C-457D-82F3-1AE0124C2F97}" dt="2023-01-14T14:22:55.473" v="2290" actId="478"/>
          <ac:picMkLst>
            <pc:docMk/>
            <pc:sldMk cId="3877078759" sldId="260"/>
            <ac:picMk id="6" creationId="{7454CA65-C29D-E836-52C1-21A108BA680B}"/>
          </ac:picMkLst>
        </pc:picChg>
      </pc:sldChg>
      <pc:sldChg chg="delSp modSp mod">
        <pc:chgData name="Roberto Gallardo" userId="49a044883f185952" providerId="LiveId" clId="{25BE2D22-C10C-457D-82F3-1AE0124C2F97}" dt="2023-01-14T14:23:07.821" v="2295" actId="478"/>
        <pc:sldMkLst>
          <pc:docMk/>
          <pc:sldMk cId="1175010214" sldId="261"/>
        </pc:sldMkLst>
        <pc:spChg chg="mod">
          <ac:chgData name="Roberto Gallardo" userId="49a044883f185952" providerId="LiveId" clId="{25BE2D22-C10C-457D-82F3-1AE0124C2F97}" dt="2023-01-09T23:46:19.915" v="107" actId="20577"/>
          <ac:spMkLst>
            <pc:docMk/>
            <pc:sldMk cId="1175010214" sldId="261"/>
            <ac:spMk id="2" creationId="{C03B1400-5F72-D252-1DBE-EDCD6E63B07C}"/>
          </ac:spMkLst>
        </pc:spChg>
        <pc:spChg chg="mod">
          <ac:chgData name="Roberto Gallardo" userId="49a044883f185952" providerId="LiveId" clId="{25BE2D22-C10C-457D-82F3-1AE0124C2F97}" dt="2023-01-09T23:40:39.389" v="92" actId="20577"/>
          <ac:spMkLst>
            <pc:docMk/>
            <pc:sldMk cId="1175010214" sldId="261"/>
            <ac:spMk id="8" creationId="{40AF43CC-DD34-B66D-2100-C70E6AB3ED53}"/>
          </ac:spMkLst>
        </pc:spChg>
        <pc:picChg chg="del ord">
          <ac:chgData name="Roberto Gallardo" userId="49a044883f185952" providerId="LiveId" clId="{25BE2D22-C10C-457D-82F3-1AE0124C2F97}" dt="2023-01-14T14:23:07.821" v="2295" actId="478"/>
          <ac:picMkLst>
            <pc:docMk/>
            <pc:sldMk cId="1175010214" sldId="261"/>
            <ac:picMk id="7" creationId="{A7EE6CAD-9CCE-2BE9-847E-C3EEA2C6DFDF}"/>
          </ac:picMkLst>
        </pc:picChg>
      </pc:sldChg>
      <pc:sldChg chg="modSp del mod">
        <pc:chgData name="Roberto Gallardo" userId="49a044883f185952" providerId="LiveId" clId="{25BE2D22-C10C-457D-82F3-1AE0124C2F97}" dt="2023-01-11T22:36:58.987" v="625" actId="47"/>
        <pc:sldMkLst>
          <pc:docMk/>
          <pc:sldMk cId="3490389620" sldId="262"/>
        </pc:sldMkLst>
        <pc:spChg chg="mod">
          <ac:chgData name="Roberto Gallardo" userId="49a044883f185952" providerId="LiveId" clId="{25BE2D22-C10C-457D-82F3-1AE0124C2F97}" dt="2023-01-11T22:31:30.539" v="591" actId="20577"/>
          <ac:spMkLst>
            <pc:docMk/>
            <pc:sldMk cId="3490389620" sldId="262"/>
            <ac:spMk id="8" creationId="{40AF43CC-DD34-B66D-2100-C70E6AB3ED53}"/>
          </ac:spMkLst>
        </pc:spChg>
        <pc:picChg chg="ord">
          <ac:chgData name="Roberto Gallardo" userId="49a044883f185952" providerId="LiveId" clId="{25BE2D22-C10C-457D-82F3-1AE0124C2F97}" dt="2023-01-10T00:16:15.998" v="362" actId="167"/>
          <ac:picMkLst>
            <pc:docMk/>
            <pc:sldMk cId="3490389620" sldId="262"/>
            <ac:picMk id="9" creationId="{40A36035-9B52-D1D4-A560-EC18D0BAF6E7}"/>
          </ac:picMkLst>
        </pc:picChg>
      </pc:sldChg>
      <pc:sldChg chg="del">
        <pc:chgData name="Roberto Gallardo" userId="49a044883f185952" providerId="LiveId" clId="{25BE2D22-C10C-457D-82F3-1AE0124C2F97}" dt="2023-01-11T22:41:00.154" v="649" actId="47"/>
        <pc:sldMkLst>
          <pc:docMk/>
          <pc:sldMk cId="77472702" sldId="263"/>
        </pc:sldMkLst>
      </pc:sldChg>
      <pc:sldChg chg="del">
        <pc:chgData name="Roberto Gallardo" userId="49a044883f185952" providerId="LiveId" clId="{25BE2D22-C10C-457D-82F3-1AE0124C2F97}" dt="2023-01-11T22:42:24.347" v="763" actId="47"/>
        <pc:sldMkLst>
          <pc:docMk/>
          <pc:sldMk cId="1409358877" sldId="264"/>
        </pc:sldMkLst>
      </pc:sldChg>
      <pc:sldChg chg="modSp del mod">
        <pc:chgData name="Roberto Gallardo" userId="49a044883f185952" providerId="LiveId" clId="{25BE2D22-C10C-457D-82F3-1AE0124C2F97}" dt="2023-01-11T22:45:01.449" v="809" actId="47"/>
        <pc:sldMkLst>
          <pc:docMk/>
          <pc:sldMk cId="2546441270" sldId="265"/>
        </pc:sldMkLst>
        <pc:spChg chg="mod">
          <ac:chgData name="Roberto Gallardo" userId="49a044883f185952" providerId="LiveId" clId="{25BE2D22-C10C-457D-82F3-1AE0124C2F97}" dt="2023-01-10T00:16:09.105" v="361" actId="14100"/>
          <ac:spMkLst>
            <pc:docMk/>
            <pc:sldMk cId="2546441270" sldId="265"/>
            <ac:spMk id="2" creationId="{C03B1400-5F72-D252-1DBE-EDCD6E63B07C}"/>
          </ac:spMkLst>
        </pc:spChg>
        <pc:picChg chg="ord">
          <ac:chgData name="Roberto Gallardo" userId="49a044883f185952" providerId="LiveId" clId="{25BE2D22-C10C-457D-82F3-1AE0124C2F97}" dt="2023-01-10T00:15:43.899" v="332" actId="167"/>
          <ac:picMkLst>
            <pc:docMk/>
            <pc:sldMk cId="2546441270" sldId="265"/>
            <ac:picMk id="9" creationId="{47CC0AA5-019F-7850-820E-5AEDCC3CAAD7}"/>
          </ac:picMkLst>
        </pc:picChg>
      </pc:sldChg>
      <pc:sldChg chg="del">
        <pc:chgData name="Roberto Gallardo" userId="49a044883f185952" providerId="LiveId" clId="{25BE2D22-C10C-457D-82F3-1AE0124C2F97}" dt="2023-01-11T22:45:38.028" v="848" actId="47"/>
        <pc:sldMkLst>
          <pc:docMk/>
          <pc:sldMk cId="3919704792" sldId="266"/>
        </pc:sldMkLst>
      </pc:sldChg>
      <pc:sldChg chg="del">
        <pc:chgData name="Roberto Gallardo" userId="49a044883f185952" providerId="LiveId" clId="{25BE2D22-C10C-457D-82F3-1AE0124C2F97}" dt="2023-01-11T22:46:45.097" v="929" actId="47"/>
        <pc:sldMkLst>
          <pc:docMk/>
          <pc:sldMk cId="4158874625" sldId="267"/>
        </pc:sldMkLst>
      </pc:sldChg>
      <pc:sldChg chg="del">
        <pc:chgData name="Roberto Gallardo" userId="49a044883f185952" providerId="LiveId" clId="{25BE2D22-C10C-457D-82F3-1AE0124C2F97}" dt="2023-01-11T22:47:18.989" v="978" actId="47"/>
        <pc:sldMkLst>
          <pc:docMk/>
          <pc:sldMk cId="2670791091" sldId="268"/>
        </pc:sldMkLst>
      </pc:sldChg>
      <pc:sldChg chg="del">
        <pc:chgData name="Roberto Gallardo" userId="49a044883f185952" providerId="LiveId" clId="{25BE2D22-C10C-457D-82F3-1AE0124C2F97}" dt="2023-01-11T22:56:38.855" v="1009" actId="47"/>
        <pc:sldMkLst>
          <pc:docMk/>
          <pc:sldMk cId="3618545072" sldId="269"/>
        </pc:sldMkLst>
      </pc:sldChg>
      <pc:sldChg chg="del">
        <pc:chgData name="Roberto Gallardo" userId="49a044883f185952" providerId="LiveId" clId="{25BE2D22-C10C-457D-82F3-1AE0124C2F97}" dt="2023-01-11T22:56:40.918" v="1010" actId="47"/>
        <pc:sldMkLst>
          <pc:docMk/>
          <pc:sldMk cId="436430764" sldId="270"/>
        </pc:sldMkLst>
      </pc:sldChg>
      <pc:sldChg chg="addSp delSp modSp mod">
        <pc:chgData name="Roberto Gallardo" userId="49a044883f185952" providerId="LiveId" clId="{25BE2D22-C10C-457D-82F3-1AE0124C2F97}" dt="2023-01-14T14:23:19.200" v="2296" actId="478"/>
        <pc:sldMkLst>
          <pc:docMk/>
          <pc:sldMk cId="1418533539" sldId="271"/>
        </pc:sldMkLst>
        <pc:spChg chg="mod">
          <ac:chgData name="Roberto Gallardo" userId="49a044883f185952" providerId="LiveId" clId="{25BE2D22-C10C-457D-82F3-1AE0124C2F97}" dt="2023-01-13T02:22:47.215" v="1659" actId="122"/>
          <ac:spMkLst>
            <pc:docMk/>
            <pc:sldMk cId="1418533539" sldId="271"/>
            <ac:spMk id="2" creationId="{C03B1400-5F72-D252-1DBE-EDCD6E63B07C}"/>
          </ac:spMkLst>
        </pc:spChg>
        <pc:spChg chg="add mod">
          <ac:chgData name="Roberto Gallardo" userId="49a044883f185952" providerId="LiveId" clId="{25BE2D22-C10C-457D-82F3-1AE0124C2F97}" dt="2023-01-13T02:25:04.952" v="1698" actId="1076"/>
          <ac:spMkLst>
            <pc:docMk/>
            <pc:sldMk cId="1418533539" sldId="271"/>
            <ac:spMk id="3" creationId="{AF651823-818E-912D-E331-CDEB914505A8}"/>
          </ac:spMkLst>
        </pc:spChg>
        <pc:spChg chg="del mod">
          <ac:chgData name="Roberto Gallardo" userId="49a044883f185952" providerId="LiveId" clId="{25BE2D22-C10C-457D-82F3-1AE0124C2F97}" dt="2023-01-11T22:32:35.186" v="600" actId="478"/>
          <ac:spMkLst>
            <pc:docMk/>
            <pc:sldMk cId="1418533539" sldId="271"/>
            <ac:spMk id="8" creationId="{40AF43CC-DD34-B66D-2100-C70E6AB3ED53}"/>
          </ac:spMkLst>
        </pc:spChg>
        <pc:graphicFrameChg chg="add del mod">
          <ac:chgData name="Roberto Gallardo" userId="49a044883f185952" providerId="LiveId" clId="{25BE2D22-C10C-457D-82F3-1AE0124C2F97}" dt="2023-01-13T02:21:01.017" v="1645" actId="478"/>
          <ac:graphicFrameMkLst>
            <pc:docMk/>
            <pc:sldMk cId="1418533539" sldId="271"/>
            <ac:graphicFrameMk id="6" creationId="{CE45C3AF-C253-DC6A-54C2-FE3F8F710345}"/>
          </ac:graphicFrameMkLst>
        </pc:graphicFrameChg>
        <pc:graphicFrameChg chg="add del mod">
          <ac:chgData name="Roberto Gallardo" userId="49a044883f185952" providerId="LiveId" clId="{25BE2D22-C10C-457D-82F3-1AE0124C2F97}" dt="2023-01-10T00:23:25.192" v="479" actId="478"/>
          <ac:graphicFrameMkLst>
            <pc:docMk/>
            <pc:sldMk cId="1418533539" sldId="271"/>
            <ac:graphicFrameMk id="12" creationId="{DABF0741-AD27-F6EC-F006-1930AC38E762}"/>
          </ac:graphicFrameMkLst>
        </pc:graphicFrameChg>
        <pc:picChg chg="add del mod">
          <ac:chgData name="Roberto Gallardo" userId="49a044883f185952" providerId="LiveId" clId="{25BE2D22-C10C-457D-82F3-1AE0124C2F97}" dt="2023-01-13T00:36:42.253" v="1503" actId="478"/>
          <ac:picMkLst>
            <pc:docMk/>
            <pc:sldMk cId="1418533539" sldId="271"/>
            <ac:picMk id="7" creationId="{612696AC-75A4-8645-153D-6EE56FC1207A}"/>
          </ac:picMkLst>
        </pc:picChg>
        <pc:picChg chg="add del mod">
          <ac:chgData name="Roberto Gallardo" userId="49a044883f185952" providerId="LiveId" clId="{25BE2D22-C10C-457D-82F3-1AE0124C2F97}" dt="2023-01-13T02:21:03.920" v="1646" actId="478"/>
          <ac:picMkLst>
            <pc:docMk/>
            <pc:sldMk cId="1418533539" sldId="271"/>
            <ac:picMk id="8" creationId="{EBF08018-13C5-6C09-EDA1-F15EE5AE8D0D}"/>
          </ac:picMkLst>
        </pc:picChg>
        <pc:picChg chg="add del mod">
          <ac:chgData name="Roberto Gallardo" userId="49a044883f185952" providerId="LiveId" clId="{25BE2D22-C10C-457D-82F3-1AE0124C2F97}" dt="2023-01-11T22:36:17.588" v="616" actId="478"/>
          <ac:picMkLst>
            <pc:docMk/>
            <pc:sldMk cId="1418533539" sldId="271"/>
            <ac:picMk id="9" creationId="{03E7E678-7ACC-337D-5E39-82A936AE17EF}"/>
          </ac:picMkLst>
        </pc:picChg>
        <pc:picChg chg="add mod">
          <ac:chgData name="Roberto Gallardo" userId="49a044883f185952" providerId="LiveId" clId="{25BE2D22-C10C-457D-82F3-1AE0124C2F97}" dt="2023-01-13T02:22:28.780" v="1653" actId="1076"/>
          <ac:picMkLst>
            <pc:docMk/>
            <pc:sldMk cId="1418533539" sldId="271"/>
            <ac:picMk id="10" creationId="{1B762686-DC65-9B90-CF68-660E6B2284BC}"/>
          </ac:picMkLst>
        </pc:picChg>
        <pc:picChg chg="add del">
          <ac:chgData name="Roberto Gallardo" userId="49a044883f185952" providerId="LiveId" clId="{25BE2D22-C10C-457D-82F3-1AE0124C2F97}" dt="2023-01-10T00:08:52.675" v="284" actId="478"/>
          <ac:picMkLst>
            <pc:docMk/>
            <pc:sldMk cId="1418533539" sldId="271"/>
            <ac:picMk id="11" creationId="{AEFDEB6D-F3A3-1572-E046-90ABC9E2817B}"/>
          </ac:picMkLst>
        </pc:picChg>
        <pc:picChg chg="del ord">
          <ac:chgData name="Roberto Gallardo" userId="49a044883f185952" providerId="LiveId" clId="{25BE2D22-C10C-457D-82F3-1AE0124C2F97}" dt="2023-01-14T14:23:19.200" v="2296" actId="478"/>
          <ac:picMkLst>
            <pc:docMk/>
            <pc:sldMk cId="1418533539" sldId="271"/>
            <ac:picMk id="13" creationId="{4F7357C3-AA47-A578-E18E-C38D0920BC2B}"/>
          </ac:picMkLst>
        </pc:picChg>
      </pc:sldChg>
      <pc:sldChg chg="delSp modSp mod">
        <pc:chgData name="Roberto Gallardo" userId="49a044883f185952" providerId="LiveId" clId="{25BE2D22-C10C-457D-82F3-1AE0124C2F97}" dt="2023-01-14T14:23:05.408" v="2294" actId="478"/>
        <pc:sldMkLst>
          <pc:docMk/>
          <pc:sldMk cId="2653937722" sldId="272"/>
        </pc:sldMkLst>
        <pc:spChg chg="mod">
          <ac:chgData name="Roberto Gallardo" userId="49a044883f185952" providerId="LiveId" clId="{25BE2D22-C10C-457D-82F3-1AE0124C2F97}" dt="2023-01-09T23:34:56.097" v="82" actId="20577"/>
          <ac:spMkLst>
            <pc:docMk/>
            <pc:sldMk cId="2653937722" sldId="272"/>
            <ac:spMk id="8" creationId="{40AF43CC-DD34-B66D-2100-C70E6AB3ED53}"/>
          </ac:spMkLst>
        </pc:spChg>
        <pc:picChg chg="del ord">
          <ac:chgData name="Roberto Gallardo" userId="49a044883f185952" providerId="LiveId" clId="{25BE2D22-C10C-457D-82F3-1AE0124C2F97}" dt="2023-01-14T14:23:05.408" v="2294" actId="478"/>
          <ac:picMkLst>
            <pc:docMk/>
            <pc:sldMk cId="2653937722" sldId="272"/>
            <ac:picMk id="7" creationId="{47B0A1AD-C83F-A2F8-D8C7-ED6D53AA4B2F}"/>
          </ac:picMkLst>
        </pc:picChg>
      </pc:sldChg>
      <pc:sldChg chg="delSp modSp mod">
        <pc:chgData name="Roberto Gallardo" userId="49a044883f185952" providerId="LiveId" clId="{25BE2D22-C10C-457D-82F3-1AE0124C2F97}" dt="2023-01-14T14:25:19.215" v="2321" actId="478"/>
        <pc:sldMkLst>
          <pc:docMk/>
          <pc:sldMk cId="2076698419" sldId="273"/>
        </pc:sldMkLst>
        <pc:picChg chg="del ord">
          <ac:chgData name="Roberto Gallardo" userId="49a044883f185952" providerId="LiveId" clId="{25BE2D22-C10C-457D-82F3-1AE0124C2F97}" dt="2023-01-14T14:25:19.215" v="2321" actId="478"/>
          <ac:picMkLst>
            <pc:docMk/>
            <pc:sldMk cId="2076698419" sldId="273"/>
            <ac:picMk id="9" creationId="{FFA57C8B-4C3E-6D4F-82A8-EE27683795FD}"/>
          </ac:picMkLst>
        </pc:picChg>
      </pc:sldChg>
      <pc:sldChg chg="delSp modSp mod">
        <pc:chgData name="Roberto Gallardo" userId="49a044883f185952" providerId="LiveId" clId="{25BE2D22-C10C-457D-82F3-1AE0124C2F97}" dt="2023-01-14T14:25:26.106" v="2323" actId="478"/>
        <pc:sldMkLst>
          <pc:docMk/>
          <pc:sldMk cId="3802335161" sldId="274"/>
        </pc:sldMkLst>
        <pc:spChg chg="mod">
          <ac:chgData name="Roberto Gallardo" userId="49a044883f185952" providerId="LiveId" clId="{25BE2D22-C10C-457D-82F3-1AE0124C2F97}" dt="2023-01-09T23:59:49.464" v="236" actId="1076"/>
          <ac:spMkLst>
            <pc:docMk/>
            <pc:sldMk cId="3802335161" sldId="274"/>
            <ac:spMk id="7" creationId="{06088BFF-E008-7036-06DC-C79AACE6A6EF}"/>
          </ac:spMkLst>
        </pc:spChg>
        <pc:spChg chg="mod">
          <ac:chgData name="Roberto Gallardo" userId="49a044883f185952" providerId="LiveId" clId="{25BE2D22-C10C-457D-82F3-1AE0124C2F97}" dt="2023-01-09T23:59:45.624" v="235" actId="1076"/>
          <ac:spMkLst>
            <pc:docMk/>
            <pc:sldMk cId="3802335161" sldId="274"/>
            <ac:spMk id="8" creationId="{40AF43CC-DD34-B66D-2100-C70E6AB3ED53}"/>
          </ac:spMkLst>
        </pc:spChg>
        <pc:picChg chg="del ord">
          <ac:chgData name="Roberto Gallardo" userId="49a044883f185952" providerId="LiveId" clId="{25BE2D22-C10C-457D-82F3-1AE0124C2F97}" dt="2023-01-14T14:25:26.106" v="2323" actId="478"/>
          <ac:picMkLst>
            <pc:docMk/>
            <pc:sldMk cId="3802335161" sldId="274"/>
            <ac:picMk id="11" creationId="{20764531-2D44-8514-A242-BA2A93780D69}"/>
          </ac:picMkLst>
        </pc:picChg>
      </pc:sldChg>
      <pc:sldChg chg="delSp modSp mod">
        <pc:chgData name="Roberto Gallardo" userId="49a044883f185952" providerId="LiveId" clId="{25BE2D22-C10C-457D-82F3-1AE0124C2F97}" dt="2023-01-14T14:25:28.668" v="2324" actId="478"/>
        <pc:sldMkLst>
          <pc:docMk/>
          <pc:sldMk cId="4292554322" sldId="275"/>
        </pc:sldMkLst>
        <pc:spChg chg="mod">
          <ac:chgData name="Roberto Gallardo" userId="49a044883f185952" providerId="LiveId" clId="{25BE2D22-C10C-457D-82F3-1AE0124C2F97}" dt="2023-01-10T00:08:19.825" v="283" actId="20577"/>
          <ac:spMkLst>
            <pc:docMk/>
            <pc:sldMk cId="4292554322" sldId="275"/>
            <ac:spMk id="8" creationId="{40AF43CC-DD34-B66D-2100-C70E6AB3ED53}"/>
          </ac:spMkLst>
        </pc:spChg>
        <pc:picChg chg="del ord">
          <ac:chgData name="Roberto Gallardo" userId="49a044883f185952" providerId="LiveId" clId="{25BE2D22-C10C-457D-82F3-1AE0124C2F97}" dt="2023-01-14T14:25:28.668" v="2324" actId="478"/>
          <ac:picMkLst>
            <pc:docMk/>
            <pc:sldMk cId="4292554322" sldId="275"/>
            <ac:picMk id="7" creationId="{D63D57C2-CBCB-D955-3A69-AFA7B03E637F}"/>
          </ac:picMkLst>
        </pc:picChg>
      </pc:sldChg>
      <pc:sldChg chg="delSp modSp mod">
        <pc:chgData name="Roberto Gallardo" userId="49a044883f185952" providerId="LiveId" clId="{25BE2D22-C10C-457D-82F3-1AE0124C2F97}" dt="2023-01-14T14:25:21.892" v="2322" actId="478"/>
        <pc:sldMkLst>
          <pc:docMk/>
          <pc:sldMk cId="513409896" sldId="276"/>
        </pc:sldMkLst>
        <pc:spChg chg="mod">
          <ac:chgData name="Roberto Gallardo" userId="49a044883f185952" providerId="LiveId" clId="{25BE2D22-C10C-457D-82F3-1AE0124C2F97}" dt="2023-01-09T23:52:38.282" v="129" actId="20577"/>
          <ac:spMkLst>
            <pc:docMk/>
            <pc:sldMk cId="513409896" sldId="276"/>
            <ac:spMk id="2" creationId="{C03B1400-5F72-D252-1DBE-EDCD6E63B07C}"/>
          </ac:spMkLst>
        </pc:spChg>
        <pc:spChg chg="mod">
          <ac:chgData name="Roberto Gallardo" userId="49a044883f185952" providerId="LiveId" clId="{25BE2D22-C10C-457D-82F3-1AE0124C2F97}" dt="2023-01-09T23:55:59.892" v="141" actId="1076"/>
          <ac:spMkLst>
            <pc:docMk/>
            <pc:sldMk cId="513409896" sldId="276"/>
            <ac:spMk id="9" creationId="{EB4CC4F6-2F6B-8AF9-8151-CB2C0FF4BAC4}"/>
          </ac:spMkLst>
        </pc:spChg>
        <pc:spChg chg="mod">
          <ac:chgData name="Roberto Gallardo" userId="49a044883f185952" providerId="LiveId" clId="{25BE2D22-C10C-457D-82F3-1AE0124C2F97}" dt="2023-01-09T23:57:39.847" v="171" actId="1037"/>
          <ac:spMkLst>
            <pc:docMk/>
            <pc:sldMk cId="513409896" sldId="276"/>
            <ac:spMk id="16" creationId="{420A225E-A640-906C-A470-552759842A43}"/>
          </ac:spMkLst>
        </pc:spChg>
        <pc:spChg chg="mod">
          <ac:chgData name="Roberto Gallardo" userId="49a044883f185952" providerId="LiveId" clId="{25BE2D22-C10C-457D-82F3-1AE0124C2F97}" dt="2023-01-09T23:58:38.609" v="187" actId="1038"/>
          <ac:spMkLst>
            <pc:docMk/>
            <pc:sldMk cId="513409896" sldId="276"/>
            <ac:spMk id="21" creationId="{9A68ADBE-AECC-EE60-7E94-3675B33E08AE}"/>
          </ac:spMkLst>
        </pc:spChg>
        <pc:picChg chg="del ord">
          <ac:chgData name="Roberto Gallardo" userId="49a044883f185952" providerId="LiveId" clId="{25BE2D22-C10C-457D-82F3-1AE0124C2F97}" dt="2023-01-14T14:25:21.892" v="2322" actId="478"/>
          <ac:picMkLst>
            <pc:docMk/>
            <pc:sldMk cId="513409896" sldId="276"/>
            <ac:picMk id="28" creationId="{7ABD12D9-88D7-6FDA-AEAC-080C6614109E}"/>
          </ac:picMkLst>
        </pc:picChg>
        <pc:cxnChg chg="mod">
          <ac:chgData name="Roberto Gallardo" userId="49a044883f185952" providerId="LiveId" clId="{25BE2D22-C10C-457D-82F3-1AE0124C2F97}" dt="2023-01-09T23:55:39.172" v="135" actId="1076"/>
          <ac:cxnSpMkLst>
            <pc:docMk/>
            <pc:sldMk cId="513409896" sldId="276"/>
            <ac:cxnSpMk id="12" creationId="{CFFB1630-BD90-A400-670C-BA42A969CC53}"/>
          </ac:cxnSpMkLst>
        </pc:cxnChg>
        <pc:cxnChg chg="mod">
          <ac:chgData name="Roberto Gallardo" userId="49a044883f185952" providerId="LiveId" clId="{25BE2D22-C10C-457D-82F3-1AE0124C2F97}" dt="2023-01-09T23:56:07.141" v="143" actId="1076"/>
          <ac:cxnSpMkLst>
            <pc:docMk/>
            <pc:sldMk cId="513409896" sldId="276"/>
            <ac:cxnSpMk id="13" creationId="{1D0B6E64-E4A0-FEB0-ABC4-B26C8EF7542E}"/>
          </ac:cxnSpMkLst>
        </pc:cxnChg>
        <pc:cxnChg chg="mod">
          <ac:chgData name="Roberto Gallardo" userId="49a044883f185952" providerId="LiveId" clId="{25BE2D22-C10C-457D-82F3-1AE0124C2F97}" dt="2023-01-09T23:56:03.557" v="142" actId="14100"/>
          <ac:cxnSpMkLst>
            <pc:docMk/>
            <pc:sldMk cId="513409896" sldId="276"/>
            <ac:cxnSpMk id="14" creationId="{15AB37BA-8065-3082-3040-FB8974BC0126}"/>
          </ac:cxnSpMkLst>
        </pc:cxnChg>
        <pc:cxnChg chg="mod">
          <ac:chgData name="Roberto Gallardo" userId="49a044883f185952" providerId="LiveId" clId="{25BE2D22-C10C-457D-82F3-1AE0124C2F97}" dt="2023-01-09T23:55:56.230" v="140" actId="14100"/>
          <ac:cxnSpMkLst>
            <pc:docMk/>
            <pc:sldMk cId="513409896" sldId="276"/>
            <ac:cxnSpMk id="15" creationId="{BCCCC111-CA7C-CAB0-EAC5-333D5A26296D}"/>
          </ac:cxnSpMkLst>
        </pc:cxnChg>
        <pc:cxnChg chg="mod">
          <ac:chgData name="Roberto Gallardo" userId="49a044883f185952" providerId="LiveId" clId="{25BE2D22-C10C-457D-82F3-1AE0124C2F97}" dt="2023-01-09T23:57:39.847" v="171" actId="1037"/>
          <ac:cxnSpMkLst>
            <pc:docMk/>
            <pc:sldMk cId="513409896" sldId="276"/>
            <ac:cxnSpMk id="17" creationId="{26BD209E-6819-82CB-9B59-E03611EAC1FC}"/>
          </ac:cxnSpMkLst>
        </pc:cxnChg>
        <pc:cxnChg chg="mod">
          <ac:chgData name="Roberto Gallardo" userId="49a044883f185952" providerId="LiveId" clId="{25BE2D22-C10C-457D-82F3-1AE0124C2F97}" dt="2023-01-09T23:57:39.847" v="171" actId="1037"/>
          <ac:cxnSpMkLst>
            <pc:docMk/>
            <pc:sldMk cId="513409896" sldId="276"/>
            <ac:cxnSpMk id="18" creationId="{F8736966-F272-CC1E-CA8B-886785B2B5EB}"/>
          </ac:cxnSpMkLst>
        </pc:cxnChg>
        <pc:cxnChg chg="mod">
          <ac:chgData name="Roberto Gallardo" userId="49a044883f185952" providerId="LiveId" clId="{25BE2D22-C10C-457D-82F3-1AE0124C2F97}" dt="2023-01-09T23:57:39.847" v="171" actId="1037"/>
          <ac:cxnSpMkLst>
            <pc:docMk/>
            <pc:sldMk cId="513409896" sldId="276"/>
            <ac:cxnSpMk id="19" creationId="{310587E0-05D3-43D7-B764-184E1AB6C561}"/>
          </ac:cxnSpMkLst>
        </pc:cxnChg>
        <pc:cxnChg chg="mod">
          <ac:chgData name="Roberto Gallardo" userId="49a044883f185952" providerId="LiveId" clId="{25BE2D22-C10C-457D-82F3-1AE0124C2F97}" dt="2023-01-09T23:57:39.847" v="171" actId="1037"/>
          <ac:cxnSpMkLst>
            <pc:docMk/>
            <pc:sldMk cId="513409896" sldId="276"/>
            <ac:cxnSpMk id="20" creationId="{4FC1B3BE-8F7B-FCC3-C3CB-625A8A3E620F}"/>
          </ac:cxnSpMkLst>
        </pc:cxnChg>
        <pc:cxnChg chg="mod">
          <ac:chgData name="Roberto Gallardo" userId="49a044883f185952" providerId="LiveId" clId="{25BE2D22-C10C-457D-82F3-1AE0124C2F97}" dt="2023-01-09T23:58:01.222" v="174" actId="1038"/>
          <ac:cxnSpMkLst>
            <pc:docMk/>
            <pc:sldMk cId="513409896" sldId="276"/>
            <ac:cxnSpMk id="22" creationId="{1B423FA0-E4B3-6570-929B-A9283D503787}"/>
          </ac:cxnSpMkLst>
        </pc:cxnChg>
        <pc:cxnChg chg="mod">
          <ac:chgData name="Roberto Gallardo" userId="49a044883f185952" providerId="LiveId" clId="{25BE2D22-C10C-457D-82F3-1AE0124C2F97}" dt="2023-01-09T23:58:42.914" v="188" actId="1038"/>
          <ac:cxnSpMkLst>
            <pc:docMk/>
            <pc:sldMk cId="513409896" sldId="276"/>
            <ac:cxnSpMk id="23" creationId="{D616797E-0044-3804-BA5A-23B8EB309CA5}"/>
          </ac:cxnSpMkLst>
        </pc:cxnChg>
        <pc:cxnChg chg="mod">
          <ac:chgData name="Roberto Gallardo" userId="49a044883f185952" providerId="LiveId" clId="{25BE2D22-C10C-457D-82F3-1AE0124C2F97}" dt="2023-01-09T23:58:42.914" v="188" actId="1038"/>
          <ac:cxnSpMkLst>
            <pc:docMk/>
            <pc:sldMk cId="513409896" sldId="276"/>
            <ac:cxnSpMk id="24" creationId="{20A6256E-6780-BAE0-B803-D02FE024579F}"/>
          </ac:cxnSpMkLst>
        </pc:cxnChg>
        <pc:cxnChg chg="mod">
          <ac:chgData name="Roberto Gallardo" userId="49a044883f185952" providerId="LiveId" clId="{25BE2D22-C10C-457D-82F3-1AE0124C2F97}" dt="2023-01-09T23:58:06.540" v="175" actId="1076"/>
          <ac:cxnSpMkLst>
            <pc:docMk/>
            <pc:sldMk cId="513409896" sldId="276"/>
            <ac:cxnSpMk id="25" creationId="{62B7492E-2C75-E0CD-947E-C582F412F7D7}"/>
          </ac:cxnSpMkLst>
        </pc:cxnChg>
      </pc:sldChg>
      <pc:sldChg chg="delSp modSp mod">
        <pc:chgData name="Roberto Gallardo" userId="49a044883f185952" providerId="LiveId" clId="{25BE2D22-C10C-457D-82F3-1AE0124C2F97}" dt="2023-01-14T14:22:53.178" v="2289" actId="478"/>
        <pc:sldMkLst>
          <pc:docMk/>
          <pc:sldMk cId="543148149" sldId="277"/>
        </pc:sldMkLst>
        <pc:spChg chg="mod">
          <ac:chgData name="Roberto Gallardo" userId="49a044883f185952" providerId="LiveId" clId="{25BE2D22-C10C-457D-82F3-1AE0124C2F97}" dt="2023-01-13T02:59:23.255" v="2194" actId="20577"/>
          <ac:spMkLst>
            <pc:docMk/>
            <pc:sldMk cId="543148149" sldId="277"/>
            <ac:spMk id="5" creationId="{6AE302AC-8931-4144-BE52-DD1A8BA82462}"/>
          </ac:spMkLst>
        </pc:spChg>
        <pc:spChg chg="mod">
          <ac:chgData name="Roberto Gallardo" userId="49a044883f185952" providerId="LiveId" clId="{25BE2D22-C10C-457D-82F3-1AE0124C2F97}" dt="2023-01-13T02:59:03.039" v="2185" actId="27636"/>
          <ac:spMkLst>
            <pc:docMk/>
            <pc:sldMk cId="543148149" sldId="277"/>
            <ac:spMk id="9" creationId="{E362A98F-7DCD-C67C-23CE-1BE182A133B4}"/>
          </ac:spMkLst>
        </pc:spChg>
        <pc:picChg chg="del">
          <ac:chgData name="Roberto Gallardo" userId="49a044883f185952" providerId="LiveId" clId="{25BE2D22-C10C-457D-82F3-1AE0124C2F97}" dt="2023-01-14T14:22:53.178" v="2289" actId="478"/>
          <ac:picMkLst>
            <pc:docMk/>
            <pc:sldMk cId="543148149" sldId="277"/>
            <ac:picMk id="15" creationId="{B191D37B-F1CD-5A9C-06B8-E0E4181E0306}"/>
          </ac:picMkLst>
        </pc:picChg>
      </pc:sldChg>
      <pc:sldChg chg="delSp modSp mod">
        <pc:chgData name="Roberto Gallardo" userId="49a044883f185952" providerId="LiveId" clId="{25BE2D22-C10C-457D-82F3-1AE0124C2F97}" dt="2023-01-14T14:25:16.874" v="2320" actId="478"/>
        <pc:sldMkLst>
          <pc:docMk/>
          <pc:sldMk cId="349244952" sldId="278"/>
        </pc:sldMkLst>
        <pc:picChg chg="del ord">
          <ac:chgData name="Roberto Gallardo" userId="49a044883f185952" providerId="LiveId" clId="{25BE2D22-C10C-457D-82F3-1AE0124C2F97}" dt="2023-01-14T14:25:16.874" v="2320" actId="478"/>
          <ac:picMkLst>
            <pc:docMk/>
            <pc:sldMk cId="349244952" sldId="278"/>
            <ac:picMk id="11" creationId="{DB0A9B91-BDA9-CBFA-5C74-903665FB0440}"/>
          </ac:picMkLst>
        </pc:picChg>
      </pc:sldChg>
      <pc:sldChg chg="modSp add del mod">
        <pc:chgData name="Roberto Gallardo" userId="49a044883f185952" providerId="LiveId" clId="{25BE2D22-C10C-457D-82F3-1AE0124C2F97}" dt="2023-01-11T22:42:06.562" v="738" actId="47"/>
        <pc:sldMkLst>
          <pc:docMk/>
          <pc:sldMk cId="2146153811" sldId="279"/>
        </pc:sldMkLst>
        <pc:spChg chg="mod">
          <ac:chgData name="Roberto Gallardo" userId="49a044883f185952" providerId="LiveId" clId="{25BE2D22-C10C-457D-82F3-1AE0124C2F97}" dt="2023-01-10T00:15:21.074" v="330" actId="20577"/>
          <ac:spMkLst>
            <pc:docMk/>
            <pc:sldMk cId="2146153811" sldId="279"/>
            <ac:spMk id="2" creationId="{C03B1400-5F72-D252-1DBE-EDCD6E63B07C}"/>
          </ac:spMkLst>
        </pc:spChg>
        <pc:picChg chg="ord">
          <ac:chgData name="Roberto Gallardo" userId="49a044883f185952" providerId="LiveId" clId="{25BE2D22-C10C-457D-82F3-1AE0124C2F97}" dt="2023-01-10T00:14:57.209" v="286" actId="167"/>
          <ac:picMkLst>
            <pc:docMk/>
            <pc:sldMk cId="2146153811" sldId="279"/>
            <ac:picMk id="10" creationId="{E3CBDF83-C9E0-8DEA-6624-BCD9FB8AFD58}"/>
          </ac:picMkLst>
        </pc:picChg>
      </pc:sldChg>
      <pc:sldChg chg="add del">
        <pc:chgData name="Roberto Gallardo" userId="49a044883f185952" providerId="LiveId" clId="{25BE2D22-C10C-457D-82F3-1AE0124C2F97}" dt="2023-01-11T22:45:17.639" v="819" actId="47"/>
        <pc:sldMkLst>
          <pc:docMk/>
          <pc:sldMk cId="3281010316" sldId="280"/>
        </pc:sldMkLst>
      </pc:sldChg>
      <pc:sldChg chg="addSp delSp modSp add mod">
        <pc:chgData name="Roberto Gallardo" userId="49a044883f185952" providerId="LiveId" clId="{25BE2D22-C10C-457D-82F3-1AE0124C2F97}" dt="2023-01-14T14:23:58.117" v="2302" actId="478"/>
        <pc:sldMkLst>
          <pc:docMk/>
          <pc:sldMk cId="2124848710" sldId="281"/>
        </pc:sldMkLst>
        <pc:spChg chg="mod">
          <ac:chgData name="Roberto Gallardo" userId="49a044883f185952" providerId="LiveId" clId="{25BE2D22-C10C-457D-82F3-1AE0124C2F97}" dt="2023-01-11T22:44:18.310" v="806" actId="20577"/>
          <ac:spMkLst>
            <pc:docMk/>
            <pc:sldMk cId="2124848710" sldId="281"/>
            <ac:spMk id="2" creationId="{C03B1400-5F72-D252-1DBE-EDCD6E63B07C}"/>
          </ac:spMkLst>
        </pc:spChg>
        <pc:spChg chg="add mod">
          <ac:chgData name="Roberto Gallardo" userId="49a044883f185952" providerId="LiveId" clId="{25BE2D22-C10C-457D-82F3-1AE0124C2F97}" dt="2023-01-11T22:32:27.568" v="598"/>
          <ac:spMkLst>
            <pc:docMk/>
            <pc:sldMk cId="2124848710" sldId="281"/>
            <ac:spMk id="7" creationId="{51811D46-3545-CBB8-9C35-BAFF095496AA}"/>
          </ac:spMkLst>
        </pc:spChg>
        <pc:spChg chg="del">
          <ac:chgData name="Roberto Gallardo" userId="49a044883f185952" providerId="LiveId" clId="{25BE2D22-C10C-457D-82F3-1AE0124C2F97}" dt="2023-01-11T22:32:27.185" v="597" actId="478"/>
          <ac:spMkLst>
            <pc:docMk/>
            <pc:sldMk cId="2124848710" sldId="281"/>
            <ac:spMk id="8" creationId="{40AF43CC-DD34-B66D-2100-C70E6AB3ED53}"/>
          </ac:spMkLst>
        </pc:spChg>
        <pc:picChg chg="add mod">
          <ac:chgData name="Roberto Gallardo" userId="49a044883f185952" providerId="LiveId" clId="{25BE2D22-C10C-457D-82F3-1AE0124C2F97}" dt="2023-01-13T00:39:20.371" v="1520" actId="1076"/>
          <ac:picMkLst>
            <pc:docMk/>
            <pc:sldMk cId="2124848710" sldId="281"/>
            <ac:picMk id="5" creationId="{2A59AE6B-1B9E-0347-0422-DB514C73822C}"/>
          </ac:picMkLst>
        </pc:picChg>
        <pc:picChg chg="add del mod">
          <ac:chgData name="Roberto Gallardo" userId="49a044883f185952" providerId="LiveId" clId="{25BE2D22-C10C-457D-82F3-1AE0124C2F97}" dt="2023-01-11T22:34:48.191" v="606" actId="478"/>
          <ac:picMkLst>
            <pc:docMk/>
            <pc:sldMk cId="2124848710" sldId="281"/>
            <ac:picMk id="5" creationId="{A3690EF6-1452-F2F3-BDD9-05004AEBC4D9}"/>
          </ac:picMkLst>
        </pc:picChg>
        <pc:picChg chg="del">
          <ac:chgData name="Roberto Gallardo" userId="49a044883f185952" providerId="LiveId" clId="{25BE2D22-C10C-457D-82F3-1AE0124C2F97}" dt="2023-01-10T00:37:00.095" v="567" actId="478"/>
          <ac:picMkLst>
            <pc:docMk/>
            <pc:sldMk cId="2124848710" sldId="281"/>
            <ac:picMk id="9" creationId="{03E7E678-7ACC-337D-5E39-82A936AE17EF}"/>
          </ac:picMkLst>
        </pc:picChg>
        <pc:picChg chg="add del mod">
          <ac:chgData name="Roberto Gallardo" userId="49a044883f185952" providerId="LiveId" clId="{25BE2D22-C10C-457D-82F3-1AE0124C2F97}" dt="2023-01-13T00:38:58.887" v="1513" actId="478"/>
          <ac:picMkLst>
            <pc:docMk/>
            <pc:sldMk cId="2124848710" sldId="281"/>
            <ac:picMk id="10" creationId="{C4A82F95-FBF6-C21F-2E20-237244FD5C6C}"/>
          </ac:picMkLst>
        </pc:picChg>
        <pc:picChg chg="del ord">
          <ac:chgData name="Roberto Gallardo" userId="49a044883f185952" providerId="LiveId" clId="{25BE2D22-C10C-457D-82F3-1AE0124C2F97}" dt="2023-01-14T14:23:58.117" v="2302" actId="478"/>
          <ac:picMkLst>
            <pc:docMk/>
            <pc:sldMk cId="2124848710" sldId="281"/>
            <ac:picMk id="13" creationId="{4F7357C3-AA47-A578-E18E-C38D0920BC2B}"/>
          </ac:picMkLst>
        </pc:picChg>
      </pc:sldChg>
      <pc:sldChg chg="addSp delSp modSp add mod">
        <pc:chgData name="Roberto Gallardo" userId="49a044883f185952" providerId="LiveId" clId="{25BE2D22-C10C-457D-82F3-1AE0124C2F97}" dt="2023-01-14T14:24:00.749" v="2303" actId="478"/>
        <pc:sldMkLst>
          <pc:docMk/>
          <pc:sldMk cId="2028175529" sldId="282"/>
        </pc:sldMkLst>
        <pc:spChg chg="mod">
          <ac:chgData name="Roberto Gallardo" userId="49a044883f185952" providerId="LiveId" clId="{25BE2D22-C10C-457D-82F3-1AE0124C2F97}" dt="2023-01-13T00:39:39.199" v="1523" actId="20577"/>
          <ac:spMkLst>
            <pc:docMk/>
            <pc:sldMk cId="2028175529" sldId="282"/>
            <ac:spMk id="2" creationId="{C03B1400-5F72-D252-1DBE-EDCD6E63B07C}"/>
          </ac:spMkLst>
        </pc:spChg>
        <pc:picChg chg="add del mod">
          <ac:chgData name="Roberto Gallardo" userId="49a044883f185952" providerId="LiveId" clId="{25BE2D22-C10C-457D-82F3-1AE0124C2F97}" dt="2023-01-13T00:40:50.708" v="1524" actId="478"/>
          <ac:picMkLst>
            <pc:docMk/>
            <pc:sldMk cId="2028175529" sldId="282"/>
            <ac:picMk id="5" creationId="{49F907CC-2FFC-9CA0-1E54-6281D4D3E038}"/>
          </ac:picMkLst>
        </pc:picChg>
        <pc:picChg chg="add mod">
          <ac:chgData name="Roberto Gallardo" userId="49a044883f185952" providerId="LiveId" clId="{25BE2D22-C10C-457D-82F3-1AE0124C2F97}" dt="2023-01-13T00:41:08.055" v="1531" actId="1076"/>
          <ac:picMkLst>
            <pc:docMk/>
            <pc:sldMk cId="2028175529" sldId="282"/>
            <ac:picMk id="8" creationId="{C96FB809-0226-5B71-8F0F-02E5A446EAFD}"/>
          </ac:picMkLst>
        </pc:picChg>
        <pc:picChg chg="del">
          <ac:chgData name="Roberto Gallardo" userId="49a044883f185952" providerId="LiveId" clId="{25BE2D22-C10C-457D-82F3-1AE0124C2F97}" dt="2023-01-11T22:37:12.135" v="628" actId="478"/>
          <ac:picMkLst>
            <pc:docMk/>
            <pc:sldMk cId="2028175529" sldId="282"/>
            <ac:picMk id="10" creationId="{C4A82F95-FBF6-C21F-2E20-237244FD5C6C}"/>
          </ac:picMkLst>
        </pc:picChg>
        <pc:picChg chg="del ord">
          <ac:chgData name="Roberto Gallardo" userId="49a044883f185952" providerId="LiveId" clId="{25BE2D22-C10C-457D-82F3-1AE0124C2F97}" dt="2023-01-14T14:24:00.749" v="2303" actId="478"/>
          <ac:picMkLst>
            <pc:docMk/>
            <pc:sldMk cId="2028175529" sldId="282"/>
            <ac:picMk id="13" creationId="{4F7357C3-AA47-A578-E18E-C38D0920BC2B}"/>
          </ac:picMkLst>
        </pc:picChg>
      </pc:sldChg>
      <pc:sldChg chg="addSp delSp modSp add mod">
        <pc:chgData name="Roberto Gallardo" userId="49a044883f185952" providerId="LiveId" clId="{25BE2D22-C10C-457D-82F3-1AE0124C2F97}" dt="2023-01-14T14:24:04.423" v="2304" actId="478"/>
        <pc:sldMkLst>
          <pc:docMk/>
          <pc:sldMk cId="1326517747" sldId="283"/>
        </pc:sldMkLst>
        <pc:spChg chg="mod">
          <ac:chgData name="Roberto Gallardo" userId="49a044883f185952" providerId="LiveId" clId="{25BE2D22-C10C-457D-82F3-1AE0124C2F97}" dt="2023-01-11T23:32:42.599" v="1059" actId="20577"/>
          <ac:spMkLst>
            <pc:docMk/>
            <pc:sldMk cId="1326517747" sldId="283"/>
            <ac:spMk id="2" creationId="{C03B1400-5F72-D252-1DBE-EDCD6E63B07C}"/>
          </ac:spMkLst>
        </pc:spChg>
        <pc:graphicFrameChg chg="mod">
          <ac:chgData name="Roberto Gallardo" userId="49a044883f185952" providerId="LiveId" clId="{25BE2D22-C10C-457D-82F3-1AE0124C2F97}" dt="2023-01-11T23:31:28.023" v="1047"/>
          <ac:graphicFrameMkLst>
            <pc:docMk/>
            <pc:sldMk cId="1326517747" sldId="283"/>
            <ac:graphicFrameMk id="6" creationId="{CE45C3AF-C253-DC6A-54C2-FE3F8F710345}"/>
          </ac:graphicFrameMkLst>
        </pc:graphicFrameChg>
        <pc:picChg chg="add del mod">
          <ac:chgData name="Roberto Gallardo" userId="49a044883f185952" providerId="LiveId" clId="{25BE2D22-C10C-457D-82F3-1AE0124C2F97}" dt="2023-01-13T20:31:19.863" v="2207" actId="478"/>
          <ac:picMkLst>
            <pc:docMk/>
            <pc:sldMk cId="1326517747" sldId="283"/>
            <ac:picMk id="5" creationId="{8E464B52-1F1A-1B68-E773-69ECB2BA3D91}"/>
          </ac:picMkLst>
        </pc:picChg>
        <pc:picChg chg="add mod">
          <ac:chgData name="Roberto Gallardo" userId="49a044883f185952" providerId="LiveId" clId="{25BE2D22-C10C-457D-82F3-1AE0124C2F97}" dt="2023-01-13T20:31:35.872" v="2214" actId="1076"/>
          <ac:picMkLst>
            <pc:docMk/>
            <pc:sldMk cId="1326517747" sldId="283"/>
            <ac:picMk id="8" creationId="{9C745558-7BBD-B834-609E-ED244F71DA92}"/>
          </ac:picMkLst>
        </pc:picChg>
        <pc:picChg chg="del ord">
          <ac:chgData name="Roberto Gallardo" userId="49a044883f185952" providerId="LiveId" clId="{25BE2D22-C10C-457D-82F3-1AE0124C2F97}" dt="2023-01-14T14:24:04.423" v="2304" actId="478"/>
          <ac:picMkLst>
            <pc:docMk/>
            <pc:sldMk cId="1326517747" sldId="283"/>
            <ac:picMk id="13" creationId="{4F7357C3-AA47-A578-E18E-C38D0920BC2B}"/>
          </ac:picMkLst>
        </pc:picChg>
      </pc:sldChg>
      <pc:sldChg chg="addSp delSp modSp add mod">
        <pc:chgData name="Roberto Gallardo" userId="49a044883f185952" providerId="LiveId" clId="{25BE2D22-C10C-457D-82F3-1AE0124C2F97}" dt="2023-01-14T14:24:09.165" v="2305" actId="478"/>
        <pc:sldMkLst>
          <pc:docMk/>
          <pc:sldMk cId="783739251" sldId="284"/>
        </pc:sldMkLst>
        <pc:spChg chg="mod">
          <ac:chgData name="Roberto Gallardo" userId="49a044883f185952" providerId="LiveId" clId="{25BE2D22-C10C-457D-82F3-1AE0124C2F97}" dt="2023-01-11T22:42:19.148" v="762" actId="20577"/>
          <ac:spMkLst>
            <pc:docMk/>
            <pc:sldMk cId="783739251" sldId="284"/>
            <ac:spMk id="2" creationId="{C03B1400-5F72-D252-1DBE-EDCD6E63B07C}"/>
          </ac:spMkLst>
        </pc:spChg>
        <pc:picChg chg="add del mod">
          <ac:chgData name="Roberto Gallardo" userId="49a044883f185952" providerId="LiveId" clId="{25BE2D22-C10C-457D-82F3-1AE0124C2F97}" dt="2023-01-13T20:32:53.569" v="2217" actId="478"/>
          <ac:picMkLst>
            <pc:docMk/>
            <pc:sldMk cId="783739251" sldId="284"/>
            <ac:picMk id="5" creationId="{7FC44A9F-60F0-EA6C-7DA5-36827CEDEE07}"/>
          </ac:picMkLst>
        </pc:picChg>
        <pc:picChg chg="add mod">
          <ac:chgData name="Roberto Gallardo" userId="49a044883f185952" providerId="LiveId" clId="{25BE2D22-C10C-457D-82F3-1AE0124C2F97}" dt="2023-01-13T20:33:09.708" v="2224" actId="1076"/>
          <ac:picMkLst>
            <pc:docMk/>
            <pc:sldMk cId="783739251" sldId="284"/>
            <ac:picMk id="8" creationId="{5EB75393-923B-5E8A-A45C-412BB00B7CE6}"/>
          </ac:picMkLst>
        </pc:picChg>
        <pc:picChg chg="del ord">
          <ac:chgData name="Roberto Gallardo" userId="49a044883f185952" providerId="LiveId" clId="{25BE2D22-C10C-457D-82F3-1AE0124C2F97}" dt="2023-01-14T14:24:09.165" v="2305" actId="478"/>
          <ac:picMkLst>
            <pc:docMk/>
            <pc:sldMk cId="783739251" sldId="284"/>
            <ac:picMk id="13" creationId="{4F7357C3-AA47-A578-E18E-C38D0920BC2B}"/>
          </ac:picMkLst>
        </pc:picChg>
      </pc:sldChg>
      <pc:sldChg chg="addSp delSp modSp add mod">
        <pc:chgData name="Roberto Gallardo" userId="49a044883f185952" providerId="LiveId" clId="{25BE2D22-C10C-457D-82F3-1AE0124C2F97}" dt="2023-01-14T14:24:12.553" v="2306" actId="478"/>
        <pc:sldMkLst>
          <pc:docMk/>
          <pc:sldMk cId="1676122233" sldId="285"/>
        </pc:sldMkLst>
        <pc:spChg chg="mod">
          <ac:chgData name="Roberto Gallardo" userId="49a044883f185952" providerId="LiveId" clId="{25BE2D22-C10C-457D-82F3-1AE0124C2F97}" dt="2023-01-11T22:44:54.647" v="808"/>
          <ac:spMkLst>
            <pc:docMk/>
            <pc:sldMk cId="1676122233" sldId="285"/>
            <ac:spMk id="2" creationId="{C03B1400-5F72-D252-1DBE-EDCD6E63B07C}"/>
          </ac:spMkLst>
        </pc:spChg>
        <pc:picChg chg="add del mod">
          <ac:chgData name="Roberto Gallardo" userId="49a044883f185952" providerId="LiveId" clId="{25BE2D22-C10C-457D-82F3-1AE0124C2F97}" dt="2023-01-13T00:49:15.012" v="1544" actId="478"/>
          <ac:picMkLst>
            <pc:docMk/>
            <pc:sldMk cId="1676122233" sldId="285"/>
            <ac:picMk id="5" creationId="{FB28BB10-4440-C49C-C212-9B1F86DA2A53}"/>
          </ac:picMkLst>
        </pc:picChg>
        <pc:picChg chg="add mod">
          <ac:chgData name="Roberto Gallardo" userId="49a044883f185952" providerId="LiveId" clId="{25BE2D22-C10C-457D-82F3-1AE0124C2F97}" dt="2023-01-13T00:49:29.987" v="1551" actId="1076"/>
          <ac:picMkLst>
            <pc:docMk/>
            <pc:sldMk cId="1676122233" sldId="285"/>
            <ac:picMk id="8" creationId="{48B1E2F8-C8FE-C52D-F7C0-EE1A726B9349}"/>
          </ac:picMkLst>
        </pc:picChg>
        <pc:picChg chg="del ord">
          <ac:chgData name="Roberto Gallardo" userId="49a044883f185952" providerId="LiveId" clId="{25BE2D22-C10C-457D-82F3-1AE0124C2F97}" dt="2023-01-14T14:24:12.553" v="2306" actId="478"/>
          <ac:picMkLst>
            <pc:docMk/>
            <pc:sldMk cId="1676122233" sldId="285"/>
            <ac:picMk id="13" creationId="{4F7357C3-AA47-A578-E18E-C38D0920BC2B}"/>
          </ac:picMkLst>
        </pc:picChg>
      </pc:sldChg>
      <pc:sldChg chg="addSp delSp modSp add mod">
        <pc:chgData name="Roberto Gallardo" userId="49a044883f185952" providerId="LiveId" clId="{25BE2D22-C10C-457D-82F3-1AE0124C2F97}" dt="2023-01-14T14:24:19.337" v="2307" actId="478"/>
        <pc:sldMkLst>
          <pc:docMk/>
          <pc:sldMk cId="3100398757" sldId="286"/>
        </pc:sldMkLst>
        <pc:spChg chg="mod">
          <ac:chgData name="Roberto Gallardo" userId="49a044883f185952" providerId="LiveId" clId="{25BE2D22-C10C-457D-82F3-1AE0124C2F97}" dt="2023-01-11T22:45:11.982" v="818" actId="20577"/>
          <ac:spMkLst>
            <pc:docMk/>
            <pc:sldMk cId="3100398757" sldId="286"/>
            <ac:spMk id="2" creationId="{C03B1400-5F72-D252-1DBE-EDCD6E63B07C}"/>
          </ac:spMkLst>
        </pc:spChg>
        <pc:picChg chg="add del mod">
          <ac:chgData name="Roberto Gallardo" userId="49a044883f185952" providerId="LiveId" clId="{25BE2D22-C10C-457D-82F3-1AE0124C2F97}" dt="2023-01-13T00:47:28.727" v="1534" actId="478"/>
          <ac:picMkLst>
            <pc:docMk/>
            <pc:sldMk cId="3100398757" sldId="286"/>
            <ac:picMk id="5" creationId="{AFF98FE7-2589-C430-0EAD-99850F92F54F}"/>
          </ac:picMkLst>
        </pc:picChg>
        <pc:picChg chg="add mod">
          <ac:chgData name="Roberto Gallardo" userId="49a044883f185952" providerId="LiveId" clId="{25BE2D22-C10C-457D-82F3-1AE0124C2F97}" dt="2023-01-13T00:47:43.328" v="1541" actId="1076"/>
          <ac:picMkLst>
            <pc:docMk/>
            <pc:sldMk cId="3100398757" sldId="286"/>
            <ac:picMk id="8" creationId="{67EF222E-EF11-45B4-B78B-674626454C4E}"/>
          </ac:picMkLst>
        </pc:picChg>
        <pc:picChg chg="del ord">
          <ac:chgData name="Roberto Gallardo" userId="49a044883f185952" providerId="LiveId" clId="{25BE2D22-C10C-457D-82F3-1AE0124C2F97}" dt="2023-01-14T14:24:19.337" v="2307" actId="478"/>
          <ac:picMkLst>
            <pc:docMk/>
            <pc:sldMk cId="3100398757" sldId="286"/>
            <ac:picMk id="13" creationId="{4F7357C3-AA47-A578-E18E-C38D0920BC2B}"/>
          </ac:picMkLst>
        </pc:picChg>
      </pc:sldChg>
      <pc:sldChg chg="addSp delSp modSp add mod">
        <pc:chgData name="Roberto Gallardo" userId="49a044883f185952" providerId="LiveId" clId="{25BE2D22-C10C-457D-82F3-1AE0124C2F97}" dt="2023-01-14T14:24:22.221" v="2308" actId="478"/>
        <pc:sldMkLst>
          <pc:docMk/>
          <pc:sldMk cId="1546475425" sldId="287"/>
        </pc:sldMkLst>
        <pc:spChg chg="mod">
          <ac:chgData name="Roberto Gallardo" userId="49a044883f185952" providerId="LiveId" clId="{25BE2D22-C10C-457D-82F3-1AE0124C2F97}" dt="2023-01-11T22:45:31.169" v="847" actId="20577"/>
          <ac:spMkLst>
            <pc:docMk/>
            <pc:sldMk cId="1546475425" sldId="287"/>
            <ac:spMk id="2" creationId="{C03B1400-5F72-D252-1DBE-EDCD6E63B07C}"/>
          </ac:spMkLst>
        </pc:spChg>
        <pc:picChg chg="add del mod">
          <ac:chgData name="Roberto Gallardo" userId="49a044883f185952" providerId="LiveId" clId="{25BE2D22-C10C-457D-82F3-1AE0124C2F97}" dt="2023-01-13T20:34:37.724" v="2227" actId="478"/>
          <ac:picMkLst>
            <pc:docMk/>
            <pc:sldMk cId="1546475425" sldId="287"/>
            <ac:picMk id="5" creationId="{FD832A6E-2207-8032-0D54-78174FBE0415}"/>
          </ac:picMkLst>
        </pc:picChg>
        <pc:picChg chg="add mod">
          <ac:chgData name="Roberto Gallardo" userId="49a044883f185952" providerId="LiveId" clId="{25BE2D22-C10C-457D-82F3-1AE0124C2F97}" dt="2023-01-13T20:34:56.281" v="2235" actId="1076"/>
          <ac:picMkLst>
            <pc:docMk/>
            <pc:sldMk cId="1546475425" sldId="287"/>
            <ac:picMk id="8" creationId="{46427D8E-669F-B7B7-9C33-5BCC9BE16612}"/>
          </ac:picMkLst>
        </pc:picChg>
        <pc:picChg chg="del ord">
          <ac:chgData name="Roberto Gallardo" userId="49a044883f185952" providerId="LiveId" clId="{25BE2D22-C10C-457D-82F3-1AE0124C2F97}" dt="2023-01-14T14:24:22.221" v="2308" actId="478"/>
          <ac:picMkLst>
            <pc:docMk/>
            <pc:sldMk cId="1546475425" sldId="287"/>
            <ac:picMk id="13" creationId="{4F7357C3-AA47-A578-E18E-C38D0920BC2B}"/>
          </ac:picMkLst>
        </pc:picChg>
      </pc:sldChg>
      <pc:sldChg chg="addSp delSp modSp add mod">
        <pc:chgData name="Roberto Gallardo" userId="49a044883f185952" providerId="LiveId" clId="{25BE2D22-C10C-457D-82F3-1AE0124C2F97}" dt="2023-01-14T14:24:27.885" v="2310" actId="478"/>
        <pc:sldMkLst>
          <pc:docMk/>
          <pc:sldMk cId="1380517306" sldId="288"/>
        </pc:sldMkLst>
        <pc:spChg chg="mod">
          <ac:chgData name="Roberto Gallardo" userId="49a044883f185952" providerId="LiveId" clId="{25BE2D22-C10C-457D-82F3-1AE0124C2F97}" dt="2023-01-11T22:46:41.249" v="928" actId="14100"/>
          <ac:spMkLst>
            <pc:docMk/>
            <pc:sldMk cId="1380517306" sldId="288"/>
            <ac:spMk id="2" creationId="{C03B1400-5F72-D252-1DBE-EDCD6E63B07C}"/>
          </ac:spMkLst>
        </pc:spChg>
        <pc:picChg chg="add del mod">
          <ac:chgData name="Roberto Gallardo" userId="49a044883f185952" providerId="LiveId" clId="{25BE2D22-C10C-457D-82F3-1AE0124C2F97}" dt="2023-01-13T20:38:34.476" v="2249" actId="478"/>
          <ac:picMkLst>
            <pc:docMk/>
            <pc:sldMk cId="1380517306" sldId="288"/>
            <ac:picMk id="5" creationId="{C5E67C54-9C75-F02C-1246-39D834A95E29}"/>
          </ac:picMkLst>
        </pc:picChg>
        <pc:picChg chg="add mod">
          <ac:chgData name="Roberto Gallardo" userId="49a044883f185952" providerId="LiveId" clId="{25BE2D22-C10C-457D-82F3-1AE0124C2F97}" dt="2023-01-13T20:38:54.477" v="2256" actId="1076"/>
          <ac:picMkLst>
            <pc:docMk/>
            <pc:sldMk cId="1380517306" sldId="288"/>
            <ac:picMk id="8" creationId="{DA143094-A860-740B-5598-937C43F51433}"/>
          </ac:picMkLst>
        </pc:picChg>
        <pc:picChg chg="del ord">
          <ac:chgData name="Roberto Gallardo" userId="49a044883f185952" providerId="LiveId" clId="{25BE2D22-C10C-457D-82F3-1AE0124C2F97}" dt="2023-01-14T14:24:27.885" v="2310" actId="478"/>
          <ac:picMkLst>
            <pc:docMk/>
            <pc:sldMk cId="1380517306" sldId="288"/>
            <ac:picMk id="13" creationId="{4F7357C3-AA47-A578-E18E-C38D0920BC2B}"/>
          </ac:picMkLst>
        </pc:picChg>
      </pc:sldChg>
      <pc:sldChg chg="addSp delSp modSp add mod">
        <pc:chgData name="Roberto Gallardo" userId="49a044883f185952" providerId="LiveId" clId="{25BE2D22-C10C-457D-82F3-1AE0124C2F97}" dt="2023-01-14T14:24:31.159" v="2311" actId="478"/>
        <pc:sldMkLst>
          <pc:docMk/>
          <pc:sldMk cId="1388671151" sldId="289"/>
        </pc:sldMkLst>
        <pc:spChg chg="mod">
          <ac:chgData name="Roberto Gallardo" userId="49a044883f185952" providerId="LiveId" clId="{25BE2D22-C10C-457D-82F3-1AE0124C2F97}" dt="2023-01-11T22:47:12.899" v="977" actId="20577"/>
          <ac:spMkLst>
            <pc:docMk/>
            <pc:sldMk cId="1388671151" sldId="289"/>
            <ac:spMk id="2" creationId="{C03B1400-5F72-D252-1DBE-EDCD6E63B07C}"/>
          </ac:spMkLst>
        </pc:spChg>
        <pc:picChg chg="add del mod">
          <ac:chgData name="Roberto Gallardo" userId="49a044883f185952" providerId="LiveId" clId="{25BE2D22-C10C-457D-82F3-1AE0124C2F97}" dt="2023-01-13T20:39:51.950" v="2259" actId="478"/>
          <ac:picMkLst>
            <pc:docMk/>
            <pc:sldMk cId="1388671151" sldId="289"/>
            <ac:picMk id="5" creationId="{83E6DDE1-4A6B-47A6-8C1F-B71F6390E80D}"/>
          </ac:picMkLst>
        </pc:picChg>
        <pc:picChg chg="add mod">
          <ac:chgData name="Roberto Gallardo" userId="49a044883f185952" providerId="LiveId" clId="{25BE2D22-C10C-457D-82F3-1AE0124C2F97}" dt="2023-01-13T20:40:08.194" v="2266" actId="1076"/>
          <ac:picMkLst>
            <pc:docMk/>
            <pc:sldMk cId="1388671151" sldId="289"/>
            <ac:picMk id="8" creationId="{AED980C4-47A1-C04E-25A3-CD82D8EDBD08}"/>
          </ac:picMkLst>
        </pc:picChg>
        <pc:picChg chg="del ord">
          <ac:chgData name="Roberto Gallardo" userId="49a044883f185952" providerId="LiveId" clId="{25BE2D22-C10C-457D-82F3-1AE0124C2F97}" dt="2023-01-14T14:24:31.159" v="2311" actId="478"/>
          <ac:picMkLst>
            <pc:docMk/>
            <pc:sldMk cId="1388671151" sldId="289"/>
            <ac:picMk id="13" creationId="{4F7357C3-AA47-A578-E18E-C38D0920BC2B}"/>
          </ac:picMkLst>
        </pc:picChg>
      </pc:sldChg>
      <pc:sldChg chg="addSp delSp modSp add mod">
        <pc:chgData name="Roberto Gallardo" userId="49a044883f185952" providerId="LiveId" clId="{25BE2D22-C10C-457D-82F3-1AE0124C2F97}" dt="2023-01-14T14:24:53.718" v="2314"/>
        <pc:sldMkLst>
          <pc:docMk/>
          <pc:sldMk cId="2355376039" sldId="290"/>
        </pc:sldMkLst>
        <pc:spChg chg="mod">
          <ac:chgData name="Roberto Gallardo" userId="49a044883f185952" providerId="LiveId" clId="{25BE2D22-C10C-457D-82F3-1AE0124C2F97}" dt="2023-01-11T22:47:27.629" v="995" actId="20577"/>
          <ac:spMkLst>
            <pc:docMk/>
            <pc:sldMk cId="2355376039" sldId="290"/>
            <ac:spMk id="2" creationId="{C03B1400-5F72-D252-1DBE-EDCD6E63B07C}"/>
          </ac:spMkLst>
        </pc:spChg>
        <pc:spChg chg="add mod">
          <ac:chgData name="Roberto Gallardo" userId="49a044883f185952" providerId="LiveId" clId="{25BE2D22-C10C-457D-82F3-1AE0124C2F97}" dt="2023-01-12T00:09:57.404" v="1258" actId="1038"/>
          <ac:spMkLst>
            <pc:docMk/>
            <pc:sldMk cId="2355376039" sldId="290"/>
            <ac:spMk id="3" creationId="{F554B59C-7317-13C7-D16E-7ACCF379CFEE}"/>
          </ac:spMkLst>
        </pc:spChg>
        <pc:spChg chg="add mod">
          <ac:chgData name="Roberto Gallardo" userId="49a044883f185952" providerId="LiveId" clId="{25BE2D22-C10C-457D-82F3-1AE0124C2F97}" dt="2023-01-14T14:24:53.718" v="2314"/>
          <ac:spMkLst>
            <pc:docMk/>
            <pc:sldMk cId="2355376039" sldId="290"/>
            <ac:spMk id="5" creationId="{AD271B2F-57B1-DDF3-844C-402D53D67F69}"/>
          </ac:spMkLst>
        </pc:spChg>
        <pc:spChg chg="del">
          <ac:chgData name="Roberto Gallardo" userId="49a044883f185952" providerId="LiveId" clId="{25BE2D22-C10C-457D-82F3-1AE0124C2F97}" dt="2023-01-14T14:24:53.274" v="2313" actId="478"/>
          <ac:spMkLst>
            <pc:docMk/>
            <pc:sldMk cId="2355376039" sldId="290"/>
            <ac:spMk id="7" creationId="{51811D46-3545-CBB8-9C35-BAFF095496AA}"/>
          </ac:spMkLst>
        </pc:spChg>
        <pc:picChg chg="add mod">
          <ac:chgData name="Roberto Gallardo" userId="49a044883f185952" providerId="LiveId" clId="{25BE2D22-C10C-457D-82F3-1AE0124C2F97}" dt="2023-01-13T20:41:14.378" v="2276" actId="1076"/>
          <ac:picMkLst>
            <pc:docMk/>
            <pc:sldMk cId="2355376039" sldId="290"/>
            <ac:picMk id="8" creationId="{691D88B5-CF63-BD38-2195-191C7A96E128}"/>
          </ac:picMkLst>
        </pc:picChg>
        <pc:picChg chg="add del mod">
          <ac:chgData name="Roberto Gallardo" userId="49a044883f185952" providerId="LiveId" clId="{25BE2D22-C10C-457D-82F3-1AE0124C2F97}" dt="2023-01-12T00:22:16.301" v="1286" actId="478"/>
          <ac:picMkLst>
            <pc:docMk/>
            <pc:sldMk cId="2355376039" sldId="290"/>
            <ac:picMk id="8" creationId="{8F5D28DC-366E-6475-17B2-A0C5D31ED66B}"/>
          </ac:picMkLst>
        </pc:picChg>
        <pc:picChg chg="add del mod">
          <ac:chgData name="Roberto Gallardo" userId="49a044883f185952" providerId="LiveId" clId="{25BE2D22-C10C-457D-82F3-1AE0124C2F97}" dt="2023-01-13T20:40:58.990" v="2269" actId="478"/>
          <ac:picMkLst>
            <pc:docMk/>
            <pc:sldMk cId="2355376039" sldId="290"/>
            <ac:picMk id="10" creationId="{544F6DC2-6E58-8070-44FA-C8565BF1D685}"/>
          </ac:picMkLst>
        </pc:picChg>
        <pc:picChg chg="del ord">
          <ac:chgData name="Roberto Gallardo" userId="49a044883f185952" providerId="LiveId" clId="{25BE2D22-C10C-457D-82F3-1AE0124C2F97}" dt="2023-01-14T14:24:40.876" v="2312" actId="478"/>
          <ac:picMkLst>
            <pc:docMk/>
            <pc:sldMk cId="2355376039" sldId="290"/>
            <ac:picMk id="13" creationId="{4F7357C3-AA47-A578-E18E-C38D0920BC2B}"/>
          </ac:picMkLst>
        </pc:picChg>
      </pc:sldChg>
      <pc:sldChg chg="addSp delSp modSp add mod">
        <pc:chgData name="Roberto Gallardo" userId="49a044883f185952" providerId="LiveId" clId="{25BE2D22-C10C-457D-82F3-1AE0124C2F97}" dt="2023-01-14T14:25:12.736" v="2319"/>
        <pc:sldMkLst>
          <pc:docMk/>
          <pc:sldMk cId="3757257295" sldId="291"/>
        </pc:sldMkLst>
        <pc:spChg chg="mod">
          <ac:chgData name="Roberto Gallardo" userId="49a044883f185952" providerId="LiveId" clId="{25BE2D22-C10C-457D-82F3-1AE0124C2F97}" dt="2023-01-11T22:56:33.692" v="1008" actId="20577"/>
          <ac:spMkLst>
            <pc:docMk/>
            <pc:sldMk cId="3757257295" sldId="291"/>
            <ac:spMk id="2" creationId="{C03B1400-5F72-D252-1DBE-EDCD6E63B07C}"/>
          </ac:spMkLst>
        </pc:spChg>
        <pc:spChg chg="add mod">
          <ac:chgData name="Roberto Gallardo" userId="49a044883f185952" providerId="LiveId" clId="{25BE2D22-C10C-457D-82F3-1AE0124C2F97}" dt="2023-01-12T00:10:20.819" v="1268" actId="20577"/>
          <ac:spMkLst>
            <pc:docMk/>
            <pc:sldMk cId="3757257295" sldId="291"/>
            <ac:spMk id="3" creationId="{0DD3D37B-27F1-F3E8-0A30-705EC12F09D5}"/>
          </ac:spMkLst>
        </pc:spChg>
        <pc:spChg chg="add del mod">
          <ac:chgData name="Roberto Gallardo" userId="49a044883f185952" providerId="LiveId" clId="{25BE2D22-C10C-457D-82F3-1AE0124C2F97}" dt="2023-01-14T14:25:09.623" v="2317"/>
          <ac:spMkLst>
            <pc:docMk/>
            <pc:sldMk cId="3757257295" sldId="291"/>
            <ac:spMk id="5" creationId="{483DB107-11DE-DF88-519E-8C57C7DD7336}"/>
          </ac:spMkLst>
        </pc:spChg>
        <pc:spChg chg="del">
          <ac:chgData name="Roberto Gallardo" userId="49a044883f185952" providerId="LiveId" clId="{25BE2D22-C10C-457D-82F3-1AE0124C2F97}" dt="2023-01-14T14:25:12.306" v="2318" actId="478"/>
          <ac:spMkLst>
            <pc:docMk/>
            <pc:sldMk cId="3757257295" sldId="291"/>
            <ac:spMk id="7" creationId="{51811D46-3545-CBB8-9C35-BAFF095496AA}"/>
          </ac:spMkLst>
        </pc:spChg>
        <pc:spChg chg="add mod">
          <ac:chgData name="Roberto Gallardo" userId="49a044883f185952" providerId="LiveId" clId="{25BE2D22-C10C-457D-82F3-1AE0124C2F97}" dt="2023-01-14T14:25:12.736" v="2319"/>
          <ac:spMkLst>
            <pc:docMk/>
            <pc:sldMk cId="3757257295" sldId="291"/>
            <ac:spMk id="9" creationId="{7186EF87-E728-D13E-4ADB-699D1D4C3197}"/>
          </ac:spMkLst>
        </pc:spChg>
        <pc:graphicFrameChg chg="mod">
          <ac:chgData name="Roberto Gallardo" userId="49a044883f185952" providerId="LiveId" clId="{25BE2D22-C10C-457D-82F3-1AE0124C2F97}" dt="2023-01-12T00:24:33.263" v="1307"/>
          <ac:graphicFrameMkLst>
            <pc:docMk/>
            <pc:sldMk cId="3757257295" sldId="291"/>
            <ac:graphicFrameMk id="6" creationId="{CE45C3AF-C253-DC6A-54C2-FE3F8F710345}"/>
          </ac:graphicFrameMkLst>
        </pc:graphicFrameChg>
        <pc:picChg chg="add mod">
          <ac:chgData name="Roberto Gallardo" userId="49a044883f185952" providerId="LiveId" clId="{25BE2D22-C10C-457D-82F3-1AE0124C2F97}" dt="2023-01-13T20:42:09.429" v="2286" actId="1076"/>
          <ac:picMkLst>
            <pc:docMk/>
            <pc:sldMk cId="3757257295" sldId="291"/>
            <ac:picMk id="8" creationId="{674086C1-C7A9-8285-AAEA-22247A0797F9}"/>
          </ac:picMkLst>
        </pc:picChg>
        <pc:picChg chg="add del mod">
          <ac:chgData name="Roberto Gallardo" userId="49a044883f185952" providerId="LiveId" clId="{25BE2D22-C10C-457D-82F3-1AE0124C2F97}" dt="2023-01-12T00:24:01.470" v="1297" actId="478"/>
          <ac:picMkLst>
            <pc:docMk/>
            <pc:sldMk cId="3757257295" sldId="291"/>
            <ac:picMk id="8" creationId="{96293E5E-D452-41E7-A15F-759CF4CBFDC3}"/>
          </ac:picMkLst>
        </pc:picChg>
        <pc:picChg chg="add del mod">
          <ac:chgData name="Roberto Gallardo" userId="49a044883f185952" providerId="LiveId" clId="{25BE2D22-C10C-457D-82F3-1AE0124C2F97}" dt="2023-01-13T20:41:52.925" v="2279" actId="478"/>
          <ac:picMkLst>
            <pc:docMk/>
            <pc:sldMk cId="3757257295" sldId="291"/>
            <ac:picMk id="10" creationId="{D5BAA171-9CEB-D897-BCC8-382AACA9FB83}"/>
          </ac:picMkLst>
        </pc:picChg>
        <pc:picChg chg="del ord">
          <ac:chgData name="Roberto Gallardo" userId="49a044883f185952" providerId="LiveId" clId="{25BE2D22-C10C-457D-82F3-1AE0124C2F97}" dt="2023-01-14T14:25:07.169" v="2315" actId="478"/>
          <ac:picMkLst>
            <pc:docMk/>
            <pc:sldMk cId="3757257295" sldId="291"/>
            <ac:picMk id="13" creationId="{4F7357C3-AA47-A578-E18E-C38D0920BC2B}"/>
          </ac:picMkLst>
        </pc:picChg>
      </pc:sldChg>
      <pc:sldChg chg="addSp delSp modSp add mod">
        <pc:chgData name="Roberto Gallardo" userId="49a044883f185952" providerId="LiveId" clId="{25BE2D22-C10C-457D-82F3-1AE0124C2F97}" dt="2023-01-14T14:24:24.822" v="2309" actId="478"/>
        <pc:sldMkLst>
          <pc:docMk/>
          <pc:sldMk cId="1259856727" sldId="292"/>
        </pc:sldMkLst>
        <pc:spChg chg="mod">
          <ac:chgData name="Roberto Gallardo" userId="49a044883f185952" providerId="LiveId" clId="{25BE2D22-C10C-457D-82F3-1AE0124C2F97}" dt="2023-01-11T23:03:17.910" v="1024" actId="20577"/>
          <ac:spMkLst>
            <pc:docMk/>
            <pc:sldMk cId="1259856727" sldId="292"/>
            <ac:spMk id="2" creationId="{C03B1400-5F72-D252-1DBE-EDCD6E63B07C}"/>
          </ac:spMkLst>
        </pc:spChg>
        <pc:picChg chg="add del mod">
          <ac:chgData name="Roberto Gallardo" userId="49a044883f185952" providerId="LiveId" clId="{25BE2D22-C10C-457D-82F3-1AE0124C2F97}" dt="2023-01-13T20:36:01.013" v="2239" actId="478"/>
          <ac:picMkLst>
            <pc:docMk/>
            <pc:sldMk cId="1259856727" sldId="292"/>
            <ac:picMk id="5" creationId="{F85B19F8-3D9A-8A85-5A11-DFD95EFF75A0}"/>
          </ac:picMkLst>
        </pc:picChg>
        <pc:picChg chg="add mod">
          <ac:chgData name="Roberto Gallardo" userId="49a044883f185952" providerId="LiveId" clId="{25BE2D22-C10C-457D-82F3-1AE0124C2F97}" dt="2023-01-13T20:36:16.877" v="2246" actId="1076"/>
          <ac:picMkLst>
            <pc:docMk/>
            <pc:sldMk cId="1259856727" sldId="292"/>
            <ac:picMk id="8" creationId="{ACDBDE58-AC87-FD18-3F93-26923B735BD3}"/>
          </ac:picMkLst>
        </pc:picChg>
        <pc:picChg chg="del ord">
          <ac:chgData name="Roberto Gallardo" userId="49a044883f185952" providerId="LiveId" clId="{25BE2D22-C10C-457D-82F3-1AE0124C2F97}" dt="2023-01-14T14:24:24.822" v="2309" actId="478"/>
          <ac:picMkLst>
            <pc:docMk/>
            <pc:sldMk cId="1259856727" sldId="292"/>
            <ac:picMk id="13" creationId="{4F7357C3-AA47-A578-E18E-C38D0920BC2B}"/>
          </ac:picMkLst>
        </pc:picChg>
      </pc:sldChg>
      <pc:sldChg chg="delSp modSp add mod">
        <pc:chgData name="Roberto Gallardo" userId="49a044883f185952" providerId="LiveId" clId="{25BE2D22-C10C-457D-82F3-1AE0124C2F97}" dt="2023-01-14T14:23:52.109" v="2301" actId="478"/>
        <pc:sldMkLst>
          <pc:docMk/>
          <pc:sldMk cId="3324519687" sldId="293"/>
        </pc:sldMkLst>
        <pc:picChg chg="del ord">
          <ac:chgData name="Roberto Gallardo" userId="49a044883f185952" providerId="LiveId" clId="{25BE2D22-C10C-457D-82F3-1AE0124C2F97}" dt="2023-01-14T14:23:52.109" v="2301" actId="478"/>
          <ac:picMkLst>
            <pc:docMk/>
            <pc:sldMk cId="3324519687" sldId="293"/>
            <ac:picMk id="13" creationId="{4F7357C3-AA47-A578-E18E-C38D0920BC2B}"/>
          </ac:picMkLst>
        </pc:picChg>
      </pc:sldChg>
      <pc:sldChg chg="addSp delSp modSp add del mod">
        <pc:chgData name="Roberto Gallardo" userId="49a044883f185952" providerId="LiveId" clId="{25BE2D22-C10C-457D-82F3-1AE0124C2F97}" dt="2023-01-13T02:32:06.396" v="1761" actId="47"/>
        <pc:sldMkLst>
          <pc:docMk/>
          <pc:sldMk cId="4283072567" sldId="294"/>
        </pc:sldMkLst>
        <pc:spChg chg="mod">
          <ac:chgData name="Roberto Gallardo" userId="49a044883f185952" providerId="LiveId" clId="{25BE2D22-C10C-457D-82F3-1AE0124C2F97}" dt="2023-01-13T02:24:12.242" v="1688" actId="20577"/>
          <ac:spMkLst>
            <pc:docMk/>
            <pc:sldMk cId="4283072567" sldId="294"/>
            <ac:spMk id="2" creationId="{C03B1400-5F72-D252-1DBE-EDCD6E63B07C}"/>
          </ac:spMkLst>
        </pc:spChg>
        <pc:spChg chg="mod">
          <ac:chgData name="Roberto Gallardo" userId="49a044883f185952" providerId="LiveId" clId="{25BE2D22-C10C-457D-82F3-1AE0124C2F97}" dt="2023-01-13T02:27:54.557" v="1717" actId="20577"/>
          <ac:spMkLst>
            <pc:docMk/>
            <pc:sldMk cId="4283072567" sldId="294"/>
            <ac:spMk id="3" creationId="{AF651823-818E-912D-E331-CDEB914505A8}"/>
          </ac:spMkLst>
        </pc:spChg>
        <pc:picChg chg="add mod">
          <ac:chgData name="Roberto Gallardo" userId="49a044883f185952" providerId="LiveId" clId="{25BE2D22-C10C-457D-82F3-1AE0124C2F97}" dt="2023-01-13T02:24:43.946" v="1695" actId="1076"/>
          <ac:picMkLst>
            <pc:docMk/>
            <pc:sldMk cId="4283072567" sldId="294"/>
            <ac:picMk id="6" creationId="{E4C241FD-A5C1-84E8-410F-86CD1B3B15F7}"/>
          </ac:picMkLst>
        </pc:picChg>
        <pc:picChg chg="del">
          <ac:chgData name="Roberto Gallardo" userId="49a044883f185952" providerId="LiveId" clId="{25BE2D22-C10C-457D-82F3-1AE0124C2F97}" dt="2023-01-13T02:24:14.194" v="1689" actId="478"/>
          <ac:picMkLst>
            <pc:docMk/>
            <pc:sldMk cId="4283072567" sldId="294"/>
            <ac:picMk id="10" creationId="{1B762686-DC65-9B90-CF68-660E6B2284BC}"/>
          </ac:picMkLst>
        </pc:picChg>
        <pc:picChg chg="ord">
          <ac:chgData name="Roberto Gallardo" userId="49a044883f185952" providerId="LiveId" clId="{25BE2D22-C10C-457D-82F3-1AE0124C2F97}" dt="2023-01-13T02:28:05.806" v="1718" actId="166"/>
          <ac:picMkLst>
            <pc:docMk/>
            <pc:sldMk cId="4283072567" sldId="294"/>
            <ac:picMk id="13" creationId="{4F7357C3-AA47-A578-E18E-C38D0920BC2B}"/>
          </ac:picMkLst>
        </pc:picChg>
      </pc:sldChg>
      <pc:sldChg chg="addSp delSp modSp add mod ord">
        <pc:chgData name="Roberto Gallardo" userId="49a044883f185952" providerId="LiveId" clId="{25BE2D22-C10C-457D-82F3-1AE0124C2F97}" dt="2023-01-14T14:23:22.367" v="2297" actId="478"/>
        <pc:sldMkLst>
          <pc:docMk/>
          <pc:sldMk cId="3256182630" sldId="295"/>
        </pc:sldMkLst>
        <pc:spChg chg="mod">
          <ac:chgData name="Roberto Gallardo" userId="49a044883f185952" providerId="LiveId" clId="{25BE2D22-C10C-457D-82F3-1AE0124C2F97}" dt="2023-01-13T02:32:16.357" v="1767" actId="20577"/>
          <ac:spMkLst>
            <pc:docMk/>
            <pc:sldMk cId="3256182630" sldId="295"/>
            <ac:spMk id="2" creationId="{C03B1400-5F72-D252-1DBE-EDCD6E63B07C}"/>
          </ac:spMkLst>
        </pc:spChg>
        <pc:spChg chg="mod">
          <ac:chgData name="Roberto Gallardo" userId="49a044883f185952" providerId="LiveId" clId="{25BE2D22-C10C-457D-82F3-1AE0124C2F97}" dt="2023-01-13T02:31:29.100" v="1754" actId="1035"/>
          <ac:spMkLst>
            <pc:docMk/>
            <pc:sldMk cId="3256182630" sldId="295"/>
            <ac:spMk id="3" creationId="{AF651823-818E-912D-E331-CDEB914505A8}"/>
          </ac:spMkLst>
        </pc:spChg>
        <pc:graphicFrameChg chg="add mod">
          <ac:chgData name="Roberto Gallardo" userId="49a044883f185952" providerId="LiveId" clId="{25BE2D22-C10C-457D-82F3-1AE0124C2F97}" dt="2023-01-13T02:31:03.262" v="1744"/>
          <ac:graphicFrameMkLst>
            <pc:docMk/>
            <pc:sldMk cId="3256182630" sldId="295"/>
            <ac:graphicFrameMk id="8" creationId="{D3B2E8D2-9CCD-964A-5CD5-9F743C3CE109}"/>
          </ac:graphicFrameMkLst>
        </pc:graphicFrameChg>
        <pc:picChg chg="add mod">
          <ac:chgData name="Roberto Gallardo" userId="49a044883f185952" providerId="LiveId" clId="{25BE2D22-C10C-457D-82F3-1AE0124C2F97}" dt="2023-01-13T20:29:39.532" v="2204" actId="1076"/>
          <ac:picMkLst>
            <pc:docMk/>
            <pc:sldMk cId="3256182630" sldId="295"/>
            <ac:picMk id="6" creationId="{1702842D-CEA8-22EA-EB94-B22A16AB6736}"/>
          </ac:picMkLst>
        </pc:picChg>
        <pc:picChg chg="del">
          <ac:chgData name="Roberto Gallardo" userId="49a044883f185952" providerId="LiveId" clId="{25BE2D22-C10C-457D-82F3-1AE0124C2F97}" dt="2023-01-13T02:30:06.608" v="1726" actId="478"/>
          <ac:picMkLst>
            <pc:docMk/>
            <pc:sldMk cId="3256182630" sldId="295"/>
            <ac:picMk id="6" creationId="{E4C241FD-A5C1-84E8-410F-86CD1B3B15F7}"/>
          </ac:picMkLst>
        </pc:picChg>
        <pc:picChg chg="add del mod">
          <ac:chgData name="Roberto Gallardo" userId="49a044883f185952" providerId="LiveId" clId="{25BE2D22-C10C-457D-82F3-1AE0124C2F97}" dt="2023-01-13T20:29:17.840" v="2197" actId="478"/>
          <ac:picMkLst>
            <pc:docMk/>
            <pc:sldMk cId="3256182630" sldId="295"/>
            <ac:picMk id="7" creationId="{03537EF1-AA28-12B3-A8B5-56716712F13E}"/>
          </ac:picMkLst>
        </pc:picChg>
        <pc:picChg chg="del ord">
          <ac:chgData name="Roberto Gallardo" userId="49a044883f185952" providerId="LiveId" clId="{25BE2D22-C10C-457D-82F3-1AE0124C2F97}" dt="2023-01-14T14:23:22.367" v="2297" actId="478"/>
          <ac:picMkLst>
            <pc:docMk/>
            <pc:sldMk cId="3256182630" sldId="295"/>
            <ac:picMk id="13" creationId="{4F7357C3-AA47-A578-E18E-C38D0920BC2B}"/>
          </ac:picMkLst>
        </pc:picChg>
      </pc:sldChg>
      <pc:sldChg chg="delSp modSp add mod">
        <pc:chgData name="Roberto Gallardo" userId="49a044883f185952" providerId="LiveId" clId="{25BE2D22-C10C-457D-82F3-1AE0124C2F97}" dt="2023-01-14T14:23:36.145" v="2298" actId="478"/>
        <pc:sldMkLst>
          <pc:docMk/>
          <pc:sldMk cId="4057156843" sldId="296"/>
        </pc:sldMkLst>
        <pc:picChg chg="del ord">
          <ac:chgData name="Roberto Gallardo" userId="49a044883f185952" providerId="LiveId" clId="{25BE2D22-C10C-457D-82F3-1AE0124C2F97}" dt="2023-01-14T14:23:36.145" v="2298" actId="478"/>
          <ac:picMkLst>
            <pc:docMk/>
            <pc:sldMk cId="4057156843" sldId="296"/>
            <ac:picMk id="13" creationId="{4F7357C3-AA47-A578-E18E-C38D0920BC2B}"/>
          </ac:picMkLst>
        </pc:picChg>
      </pc:sldChg>
      <pc:sldChg chg="addSp delSp modSp add mod ord">
        <pc:chgData name="Roberto Gallardo" userId="49a044883f185952" providerId="LiveId" clId="{25BE2D22-C10C-457D-82F3-1AE0124C2F97}" dt="2023-01-14T14:25:47.762" v="2326"/>
        <pc:sldMkLst>
          <pc:docMk/>
          <pc:sldMk cId="2080110827" sldId="297"/>
        </pc:sldMkLst>
        <pc:spChg chg="mod">
          <ac:chgData name="Roberto Gallardo" userId="49a044883f185952" providerId="LiveId" clId="{25BE2D22-C10C-457D-82F3-1AE0124C2F97}" dt="2023-01-13T02:36:58.286" v="1840" actId="20577"/>
          <ac:spMkLst>
            <pc:docMk/>
            <pc:sldMk cId="2080110827" sldId="297"/>
            <ac:spMk id="2" creationId="{C03B1400-5F72-D252-1DBE-EDCD6E63B07C}"/>
          </ac:spMkLst>
        </pc:spChg>
        <pc:spChg chg="del">
          <ac:chgData name="Roberto Gallardo" userId="49a044883f185952" providerId="LiveId" clId="{25BE2D22-C10C-457D-82F3-1AE0124C2F97}" dt="2023-01-13T02:34:35.142" v="1804" actId="478"/>
          <ac:spMkLst>
            <pc:docMk/>
            <pc:sldMk cId="2080110827" sldId="297"/>
            <ac:spMk id="3" creationId="{AF651823-818E-912D-E331-CDEB914505A8}"/>
          </ac:spMkLst>
        </pc:spChg>
        <pc:spChg chg="add mod">
          <ac:chgData name="Roberto Gallardo" userId="49a044883f185952" providerId="LiveId" clId="{25BE2D22-C10C-457D-82F3-1AE0124C2F97}" dt="2023-01-13T02:34:45.290" v="1806" actId="1076"/>
          <ac:spMkLst>
            <pc:docMk/>
            <pc:sldMk cId="2080110827" sldId="297"/>
            <ac:spMk id="5" creationId="{49866A15-B76A-3F87-511A-D93ED0BB1636}"/>
          </ac:spMkLst>
        </pc:spChg>
        <pc:picChg chg="add mod">
          <ac:chgData name="Roberto Gallardo" userId="49a044883f185952" providerId="LiveId" clId="{25BE2D22-C10C-457D-82F3-1AE0124C2F97}" dt="2023-01-13T02:38:06.905" v="1847" actId="1076"/>
          <ac:picMkLst>
            <pc:docMk/>
            <pc:sldMk cId="2080110827" sldId="297"/>
            <ac:picMk id="7" creationId="{0388A1BD-F495-CF38-451C-2DAAAE28522D}"/>
          </ac:picMkLst>
        </pc:picChg>
        <pc:picChg chg="del">
          <ac:chgData name="Roberto Gallardo" userId="49a044883f185952" providerId="LiveId" clId="{25BE2D22-C10C-457D-82F3-1AE0124C2F97}" dt="2023-01-13T02:34:48.721" v="1807" actId="478"/>
          <ac:picMkLst>
            <pc:docMk/>
            <pc:sldMk cId="2080110827" sldId="297"/>
            <ac:picMk id="10" creationId="{1B762686-DC65-9B90-CF68-660E6B2284BC}"/>
          </ac:picMkLst>
        </pc:picChg>
        <pc:picChg chg="del ord">
          <ac:chgData name="Roberto Gallardo" userId="49a044883f185952" providerId="LiveId" clId="{25BE2D22-C10C-457D-82F3-1AE0124C2F97}" dt="2023-01-14T14:23:48.880" v="2300" actId="478"/>
          <ac:picMkLst>
            <pc:docMk/>
            <pc:sldMk cId="2080110827" sldId="297"/>
            <ac:picMk id="13" creationId="{4F7357C3-AA47-A578-E18E-C38D0920BC2B}"/>
          </ac:picMkLst>
        </pc:picChg>
      </pc:sldChg>
      <pc:sldChg chg="addSp delSp modSp add mod ord">
        <pc:chgData name="Roberto Gallardo" userId="49a044883f185952" providerId="LiveId" clId="{25BE2D22-C10C-457D-82F3-1AE0124C2F97}" dt="2023-01-14T14:25:47.762" v="2326"/>
        <pc:sldMkLst>
          <pc:docMk/>
          <pc:sldMk cId="1532666867" sldId="298"/>
        </pc:sldMkLst>
        <pc:spChg chg="mod">
          <ac:chgData name="Roberto Gallardo" userId="49a044883f185952" providerId="LiveId" clId="{25BE2D22-C10C-457D-82F3-1AE0124C2F97}" dt="2023-01-13T02:36:47.797" v="1833" actId="20577"/>
          <ac:spMkLst>
            <pc:docMk/>
            <pc:sldMk cId="1532666867" sldId="298"/>
            <ac:spMk id="2" creationId="{C03B1400-5F72-D252-1DBE-EDCD6E63B07C}"/>
          </ac:spMkLst>
        </pc:spChg>
        <pc:picChg chg="add mod">
          <ac:chgData name="Roberto Gallardo" userId="49a044883f185952" providerId="LiveId" clId="{25BE2D22-C10C-457D-82F3-1AE0124C2F97}" dt="2023-01-13T02:36:10.725" v="1821" actId="1076"/>
          <ac:picMkLst>
            <pc:docMk/>
            <pc:sldMk cId="1532666867" sldId="298"/>
            <ac:picMk id="6" creationId="{F1EBB4A8-83F5-668F-D12B-3E393E0C0F7B}"/>
          </ac:picMkLst>
        </pc:picChg>
        <pc:picChg chg="del ord">
          <ac:chgData name="Roberto Gallardo" userId="49a044883f185952" providerId="LiveId" clId="{25BE2D22-C10C-457D-82F3-1AE0124C2F97}" dt="2023-01-14T14:23:45.981" v="2299" actId="478"/>
          <ac:picMkLst>
            <pc:docMk/>
            <pc:sldMk cId="1532666867" sldId="298"/>
            <ac:picMk id="13" creationId="{4F7357C3-AA47-A578-E18E-C38D0920BC2B}"/>
          </ac:picMkLst>
        </pc:picChg>
      </pc:sldChg>
    </pc:docChg>
  </pc:docChgLst>
  <pc:docChgLst>
    <pc:chgData name="Roberto Gallardo" userId="49a044883f185952" providerId="LiveId" clId="{F9AB91B2-BAF9-4239-B4B5-87EA66B6F649}"/>
    <pc:docChg chg="custSel modSld">
      <pc:chgData name="Roberto Gallardo" userId="49a044883f185952" providerId="LiveId" clId="{F9AB91B2-BAF9-4239-B4B5-87EA66B6F649}" dt="2023-02-06T00:11:55.742" v="30" actId="478"/>
      <pc:docMkLst>
        <pc:docMk/>
      </pc:docMkLst>
      <pc:sldChg chg="modSp mod">
        <pc:chgData name="Roberto Gallardo" userId="49a044883f185952" providerId="LiveId" clId="{F9AB91B2-BAF9-4239-B4B5-87EA66B6F649}" dt="2023-02-06T00:10:13.973" v="11" actId="20577"/>
        <pc:sldMkLst>
          <pc:docMk/>
          <pc:sldMk cId="2846901679" sldId="256"/>
        </pc:sldMkLst>
        <pc:spChg chg="mod">
          <ac:chgData name="Roberto Gallardo" userId="49a044883f185952" providerId="LiveId" clId="{F9AB91B2-BAF9-4239-B4B5-87EA66B6F649}" dt="2023-02-06T00:10:13.973" v="11" actId="20577"/>
          <ac:spMkLst>
            <pc:docMk/>
            <pc:sldMk cId="2846901679" sldId="256"/>
            <ac:spMk id="7" creationId="{B1E0ABEC-554C-720A-2772-F0324C8E93CA}"/>
          </ac:spMkLst>
        </pc:spChg>
      </pc:sldChg>
      <pc:sldChg chg="delSp mod">
        <pc:chgData name="Roberto Gallardo" userId="49a044883f185952" providerId="LiveId" clId="{F9AB91B2-BAF9-4239-B4B5-87EA66B6F649}" dt="2023-02-06T00:10:44.363" v="12" actId="478"/>
        <pc:sldMkLst>
          <pc:docMk/>
          <pc:sldMk cId="1418533539" sldId="271"/>
        </pc:sldMkLst>
        <pc:picChg chg="del">
          <ac:chgData name="Roberto Gallardo" userId="49a044883f185952" providerId="LiveId" clId="{F9AB91B2-BAF9-4239-B4B5-87EA66B6F649}" dt="2023-02-06T00:10:44.363" v="12" actId="478"/>
          <ac:picMkLst>
            <pc:docMk/>
            <pc:sldMk cId="1418533539" sldId="271"/>
            <ac:picMk id="7" creationId="{CF74D533-2D85-32B8-6A1F-30678252C584}"/>
          </ac:picMkLst>
        </pc:picChg>
      </pc:sldChg>
      <pc:sldChg chg="delSp mod">
        <pc:chgData name="Roberto Gallardo" userId="49a044883f185952" providerId="LiveId" clId="{F9AB91B2-BAF9-4239-B4B5-87EA66B6F649}" dt="2023-02-06T00:11:08.640" v="18" actId="478"/>
        <pc:sldMkLst>
          <pc:docMk/>
          <pc:sldMk cId="2124848710" sldId="281"/>
        </pc:sldMkLst>
        <pc:picChg chg="del">
          <ac:chgData name="Roberto Gallardo" userId="49a044883f185952" providerId="LiveId" clId="{F9AB91B2-BAF9-4239-B4B5-87EA66B6F649}" dt="2023-02-06T00:11:08.640" v="18" actId="478"/>
          <ac:picMkLst>
            <pc:docMk/>
            <pc:sldMk cId="2124848710" sldId="281"/>
            <ac:picMk id="5" creationId="{48719103-E2CA-CC6F-A9D3-6D2BD284EC6D}"/>
          </ac:picMkLst>
        </pc:picChg>
      </pc:sldChg>
      <pc:sldChg chg="delSp mod">
        <pc:chgData name="Roberto Gallardo" userId="49a044883f185952" providerId="LiveId" clId="{F9AB91B2-BAF9-4239-B4B5-87EA66B6F649}" dt="2023-02-06T00:11:12.405" v="19" actId="478"/>
        <pc:sldMkLst>
          <pc:docMk/>
          <pc:sldMk cId="2028175529" sldId="282"/>
        </pc:sldMkLst>
        <pc:picChg chg="del">
          <ac:chgData name="Roberto Gallardo" userId="49a044883f185952" providerId="LiveId" clId="{F9AB91B2-BAF9-4239-B4B5-87EA66B6F649}" dt="2023-02-06T00:11:12.405" v="19" actId="478"/>
          <ac:picMkLst>
            <pc:docMk/>
            <pc:sldMk cId="2028175529" sldId="282"/>
            <ac:picMk id="8" creationId="{CFE023EC-0FF0-6406-85A7-175F15D08D2F}"/>
          </ac:picMkLst>
        </pc:picChg>
      </pc:sldChg>
      <pc:sldChg chg="delSp mod">
        <pc:chgData name="Roberto Gallardo" userId="49a044883f185952" providerId="LiveId" clId="{F9AB91B2-BAF9-4239-B4B5-87EA66B6F649}" dt="2023-02-06T00:11:17.242" v="20" actId="478"/>
        <pc:sldMkLst>
          <pc:docMk/>
          <pc:sldMk cId="1326517747" sldId="283"/>
        </pc:sldMkLst>
        <pc:picChg chg="del">
          <ac:chgData name="Roberto Gallardo" userId="49a044883f185952" providerId="LiveId" clId="{F9AB91B2-BAF9-4239-B4B5-87EA66B6F649}" dt="2023-02-06T00:11:17.242" v="20" actId="478"/>
          <ac:picMkLst>
            <pc:docMk/>
            <pc:sldMk cId="1326517747" sldId="283"/>
            <ac:picMk id="8" creationId="{9A29E625-A19A-7665-D4A2-F80734D2096C}"/>
          </ac:picMkLst>
        </pc:picChg>
      </pc:sldChg>
      <pc:sldChg chg="delSp mod">
        <pc:chgData name="Roberto Gallardo" userId="49a044883f185952" providerId="LiveId" clId="{F9AB91B2-BAF9-4239-B4B5-87EA66B6F649}" dt="2023-02-06T00:11:21.050" v="21" actId="478"/>
        <pc:sldMkLst>
          <pc:docMk/>
          <pc:sldMk cId="783739251" sldId="284"/>
        </pc:sldMkLst>
        <pc:picChg chg="del">
          <ac:chgData name="Roberto Gallardo" userId="49a044883f185952" providerId="LiveId" clId="{F9AB91B2-BAF9-4239-B4B5-87EA66B6F649}" dt="2023-02-06T00:11:21.050" v="21" actId="478"/>
          <ac:picMkLst>
            <pc:docMk/>
            <pc:sldMk cId="783739251" sldId="284"/>
            <ac:picMk id="8" creationId="{63CDE078-CCBF-8497-C770-4245D0782293}"/>
          </ac:picMkLst>
        </pc:picChg>
      </pc:sldChg>
      <pc:sldChg chg="delSp mod">
        <pc:chgData name="Roberto Gallardo" userId="49a044883f185952" providerId="LiveId" clId="{F9AB91B2-BAF9-4239-B4B5-87EA66B6F649}" dt="2023-02-06T00:11:24.362" v="22" actId="478"/>
        <pc:sldMkLst>
          <pc:docMk/>
          <pc:sldMk cId="1676122233" sldId="285"/>
        </pc:sldMkLst>
        <pc:picChg chg="del">
          <ac:chgData name="Roberto Gallardo" userId="49a044883f185952" providerId="LiveId" clId="{F9AB91B2-BAF9-4239-B4B5-87EA66B6F649}" dt="2023-02-06T00:11:24.362" v="22" actId="478"/>
          <ac:picMkLst>
            <pc:docMk/>
            <pc:sldMk cId="1676122233" sldId="285"/>
            <ac:picMk id="8" creationId="{301A97BC-685B-5788-F49B-36F9BF8D7A6A}"/>
          </ac:picMkLst>
        </pc:picChg>
      </pc:sldChg>
      <pc:sldChg chg="delSp mod">
        <pc:chgData name="Roberto Gallardo" userId="49a044883f185952" providerId="LiveId" clId="{F9AB91B2-BAF9-4239-B4B5-87EA66B6F649}" dt="2023-02-06T00:11:28.151" v="23" actId="478"/>
        <pc:sldMkLst>
          <pc:docMk/>
          <pc:sldMk cId="3100398757" sldId="286"/>
        </pc:sldMkLst>
        <pc:picChg chg="del">
          <ac:chgData name="Roberto Gallardo" userId="49a044883f185952" providerId="LiveId" clId="{F9AB91B2-BAF9-4239-B4B5-87EA66B6F649}" dt="2023-02-06T00:11:28.151" v="23" actId="478"/>
          <ac:picMkLst>
            <pc:docMk/>
            <pc:sldMk cId="3100398757" sldId="286"/>
            <ac:picMk id="8" creationId="{1B94F364-0690-10E3-7A2A-1C3CCDD3C930}"/>
          </ac:picMkLst>
        </pc:picChg>
      </pc:sldChg>
      <pc:sldChg chg="delSp mod">
        <pc:chgData name="Roberto Gallardo" userId="49a044883f185952" providerId="LiveId" clId="{F9AB91B2-BAF9-4239-B4B5-87EA66B6F649}" dt="2023-02-06T00:11:32.001" v="24" actId="478"/>
        <pc:sldMkLst>
          <pc:docMk/>
          <pc:sldMk cId="1546475425" sldId="287"/>
        </pc:sldMkLst>
        <pc:picChg chg="del">
          <ac:chgData name="Roberto Gallardo" userId="49a044883f185952" providerId="LiveId" clId="{F9AB91B2-BAF9-4239-B4B5-87EA66B6F649}" dt="2023-02-06T00:11:32.001" v="24" actId="478"/>
          <ac:picMkLst>
            <pc:docMk/>
            <pc:sldMk cId="1546475425" sldId="287"/>
            <ac:picMk id="8" creationId="{CAA855F8-29C0-6C54-C3A3-891AD3FBAC60}"/>
          </ac:picMkLst>
        </pc:picChg>
      </pc:sldChg>
      <pc:sldChg chg="delSp mod">
        <pc:chgData name="Roberto Gallardo" userId="49a044883f185952" providerId="LiveId" clId="{F9AB91B2-BAF9-4239-B4B5-87EA66B6F649}" dt="2023-02-06T00:11:41.014" v="26" actId="478"/>
        <pc:sldMkLst>
          <pc:docMk/>
          <pc:sldMk cId="1380517306" sldId="288"/>
        </pc:sldMkLst>
        <pc:picChg chg="del">
          <ac:chgData name="Roberto Gallardo" userId="49a044883f185952" providerId="LiveId" clId="{F9AB91B2-BAF9-4239-B4B5-87EA66B6F649}" dt="2023-02-06T00:11:41.014" v="26" actId="478"/>
          <ac:picMkLst>
            <pc:docMk/>
            <pc:sldMk cId="1380517306" sldId="288"/>
            <ac:picMk id="8" creationId="{1269BCA3-CB6D-5913-CFF9-17C7374E8DE0}"/>
          </ac:picMkLst>
        </pc:picChg>
      </pc:sldChg>
      <pc:sldChg chg="delSp mod">
        <pc:chgData name="Roberto Gallardo" userId="49a044883f185952" providerId="LiveId" clId="{F9AB91B2-BAF9-4239-B4B5-87EA66B6F649}" dt="2023-02-06T00:11:44.255" v="27" actId="478"/>
        <pc:sldMkLst>
          <pc:docMk/>
          <pc:sldMk cId="1388671151" sldId="289"/>
        </pc:sldMkLst>
        <pc:picChg chg="del">
          <ac:chgData name="Roberto Gallardo" userId="49a044883f185952" providerId="LiveId" clId="{F9AB91B2-BAF9-4239-B4B5-87EA66B6F649}" dt="2023-02-06T00:11:44.255" v="27" actId="478"/>
          <ac:picMkLst>
            <pc:docMk/>
            <pc:sldMk cId="1388671151" sldId="289"/>
            <ac:picMk id="8" creationId="{6D17C1DE-5762-AC51-F9BA-92346D9A815C}"/>
          </ac:picMkLst>
        </pc:picChg>
      </pc:sldChg>
      <pc:sldChg chg="delSp mod">
        <pc:chgData name="Roberto Gallardo" userId="49a044883f185952" providerId="LiveId" clId="{F9AB91B2-BAF9-4239-B4B5-87EA66B6F649}" dt="2023-02-06T00:11:52.500" v="29" actId="478"/>
        <pc:sldMkLst>
          <pc:docMk/>
          <pc:sldMk cId="2355376039" sldId="290"/>
        </pc:sldMkLst>
        <pc:picChg chg="del">
          <ac:chgData name="Roberto Gallardo" userId="49a044883f185952" providerId="LiveId" clId="{F9AB91B2-BAF9-4239-B4B5-87EA66B6F649}" dt="2023-02-06T00:11:52.500" v="29" actId="478"/>
          <ac:picMkLst>
            <pc:docMk/>
            <pc:sldMk cId="2355376039" sldId="290"/>
            <ac:picMk id="8" creationId="{5DA0350F-FE6D-53CB-2AFD-AA6A8980488E}"/>
          </ac:picMkLst>
        </pc:picChg>
      </pc:sldChg>
      <pc:sldChg chg="delSp mod">
        <pc:chgData name="Roberto Gallardo" userId="49a044883f185952" providerId="LiveId" clId="{F9AB91B2-BAF9-4239-B4B5-87EA66B6F649}" dt="2023-02-06T00:11:55.742" v="30" actId="478"/>
        <pc:sldMkLst>
          <pc:docMk/>
          <pc:sldMk cId="3757257295" sldId="291"/>
        </pc:sldMkLst>
        <pc:picChg chg="del">
          <ac:chgData name="Roberto Gallardo" userId="49a044883f185952" providerId="LiveId" clId="{F9AB91B2-BAF9-4239-B4B5-87EA66B6F649}" dt="2023-02-06T00:11:55.742" v="30" actId="478"/>
          <ac:picMkLst>
            <pc:docMk/>
            <pc:sldMk cId="3757257295" sldId="291"/>
            <ac:picMk id="8" creationId="{AEE7ABCB-D0B0-3A13-45A8-D2CBAAA77EA6}"/>
          </ac:picMkLst>
        </pc:picChg>
      </pc:sldChg>
      <pc:sldChg chg="delSp mod">
        <pc:chgData name="Roberto Gallardo" userId="49a044883f185952" providerId="LiveId" clId="{F9AB91B2-BAF9-4239-B4B5-87EA66B6F649}" dt="2023-02-06T00:11:36.278" v="25" actId="478"/>
        <pc:sldMkLst>
          <pc:docMk/>
          <pc:sldMk cId="1259856727" sldId="292"/>
        </pc:sldMkLst>
        <pc:picChg chg="del">
          <ac:chgData name="Roberto Gallardo" userId="49a044883f185952" providerId="LiveId" clId="{F9AB91B2-BAF9-4239-B4B5-87EA66B6F649}" dt="2023-02-06T00:11:36.278" v="25" actId="478"/>
          <ac:picMkLst>
            <pc:docMk/>
            <pc:sldMk cId="1259856727" sldId="292"/>
            <ac:picMk id="8" creationId="{CF00FD28-5E38-7692-A3B9-F2069E86DAA8}"/>
          </ac:picMkLst>
        </pc:picChg>
      </pc:sldChg>
      <pc:sldChg chg="delSp mod">
        <pc:chgData name="Roberto Gallardo" userId="49a044883f185952" providerId="LiveId" clId="{F9AB91B2-BAF9-4239-B4B5-87EA66B6F649}" dt="2023-02-06T00:11:04.485" v="17" actId="478"/>
        <pc:sldMkLst>
          <pc:docMk/>
          <pc:sldMk cId="3324519687" sldId="293"/>
        </pc:sldMkLst>
        <pc:picChg chg="del">
          <ac:chgData name="Roberto Gallardo" userId="49a044883f185952" providerId="LiveId" clId="{F9AB91B2-BAF9-4239-B4B5-87EA66B6F649}" dt="2023-02-06T00:11:04.485" v="17" actId="478"/>
          <ac:picMkLst>
            <pc:docMk/>
            <pc:sldMk cId="3324519687" sldId="293"/>
            <ac:picMk id="9" creationId="{857220EB-001E-BBC5-093B-8C24596738CE}"/>
          </ac:picMkLst>
        </pc:picChg>
      </pc:sldChg>
      <pc:sldChg chg="delSp mod">
        <pc:chgData name="Roberto Gallardo" userId="49a044883f185952" providerId="LiveId" clId="{F9AB91B2-BAF9-4239-B4B5-87EA66B6F649}" dt="2023-02-06T00:10:54.672" v="15" actId="478"/>
        <pc:sldMkLst>
          <pc:docMk/>
          <pc:sldMk cId="3256182630" sldId="295"/>
        </pc:sldMkLst>
        <pc:picChg chg="del">
          <ac:chgData name="Roberto Gallardo" userId="49a044883f185952" providerId="LiveId" clId="{F9AB91B2-BAF9-4239-B4B5-87EA66B6F649}" dt="2023-02-06T00:10:54.672" v="15" actId="478"/>
          <ac:picMkLst>
            <pc:docMk/>
            <pc:sldMk cId="3256182630" sldId="295"/>
            <ac:picMk id="6" creationId="{93D8D6F0-D0A9-FCE5-B024-33062FB98A83}"/>
          </ac:picMkLst>
        </pc:picChg>
      </pc:sldChg>
      <pc:sldChg chg="delSp mod">
        <pc:chgData name="Roberto Gallardo" userId="49a044883f185952" providerId="LiveId" clId="{F9AB91B2-BAF9-4239-B4B5-87EA66B6F649}" dt="2023-02-06T00:10:58.939" v="16" actId="478"/>
        <pc:sldMkLst>
          <pc:docMk/>
          <pc:sldMk cId="4057156843" sldId="296"/>
        </pc:sldMkLst>
        <pc:picChg chg="del">
          <ac:chgData name="Roberto Gallardo" userId="49a044883f185952" providerId="LiveId" clId="{F9AB91B2-BAF9-4239-B4B5-87EA66B6F649}" dt="2023-02-06T00:10:58.939" v="16" actId="478"/>
          <ac:picMkLst>
            <pc:docMk/>
            <pc:sldMk cId="4057156843" sldId="296"/>
            <ac:picMk id="7" creationId="{98D345FF-36E0-779A-A6AA-657BDCF6BCE3}"/>
          </ac:picMkLst>
        </pc:picChg>
      </pc:sldChg>
      <pc:sldChg chg="delSp mod">
        <pc:chgData name="Roberto Gallardo" userId="49a044883f185952" providerId="LiveId" clId="{F9AB91B2-BAF9-4239-B4B5-87EA66B6F649}" dt="2023-02-06T00:10:51.285" v="14" actId="478"/>
        <pc:sldMkLst>
          <pc:docMk/>
          <pc:sldMk cId="2080110827" sldId="297"/>
        </pc:sldMkLst>
        <pc:picChg chg="del">
          <ac:chgData name="Roberto Gallardo" userId="49a044883f185952" providerId="LiveId" clId="{F9AB91B2-BAF9-4239-B4B5-87EA66B6F649}" dt="2023-02-06T00:10:51.285" v="14" actId="478"/>
          <ac:picMkLst>
            <pc:docMk/>
            <pc:sldMk cId="2080110827" sldId="297"/>
            <ac:picMk id="7" creationId="{FA7AA24C-289D-D5F1-A79D-1877B250B48C}"/>
          </ac:picMkLst>
        </pc:picChg>
      </pc:sldChg>
      <pc:sldChg chg="delSp mod">
        <pc:chgData name="Roberto Gallardo" userId="49a044883f185952" providerId="LiveId" clId="{F9AB91B2-BAF9-4239-B4B5-87EA66B6F649}" dt="2023-02-06T00:10:47.418" v="13" actId="478"/>
        <pc:sldMkLst>
          <pc:docMk/>
          <pc:sldMk cId="1532666867" sldId="298"/>
        </pc:sldMkLst>
        <pc:picChg chg="del">
          <ac:chgData name="Roberto Gallardo" userId="49a044883f185952" providerId="LiveId" clId="{F9AB91B2-BAF9-4239-B4B5-87EA66B6F649}" dt="2023-02-06T00:10:47.418" v="13" actId="478"/>
          <ac:picMkLst>
            <pc:docMk/>
            <pc:sldMk cId="1532666867" sldId="298"/>
            <ac:picMk id="6" creationId="{DF76BE9D-2515-C01B-6750-0A70245BBEC0}"/>
          </ac:picMkLst>
        </pc:picChg>
      </pc:sldChg>
      <pc:sldChg chg="delSp mod">
        <pc:chgData name="Roberto Gallardo" userId="49a044883f185952" providerId="LiveId" clId="{F9AB91B2-BAF9-4239-B4B5-87EA66B6F649}" dt="2023-02-06T00:11:47.811" v="28" actId="478"/>
        <pc:sldMkLst>
          <pc:docMk/>
          <pc:sldMk cId="1951376777" sldId="299"/>
        </pc:sldMkLst>
        <pc:picChg chg="del">
          <ac:chgData name="Roberto Gallardo" userId="49a044883f185952" providerId="LiveId" clId="{F9AB91B2-BAF9-4239-B4B5-87EA66B6F649}" dt="2023-02-06T00:11:47.811" v="28" actId="478"/>
          <ac:picMkLst>
            <pc:docMk/>
            <pc:sldMk cId="1951376777" sldId="299"/>
            <ac:picMk id="5" creationId="{B3B698FB-4AEA-CDBC-DBD6-2BFDA8D589E3}"/>
          </ac:picMkLst>
        </pc:pic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11.xml"/><Relationship Id="rId1" Type="http://schemas.microsoft.com/office/2011/relationships/chartStyle" Target="style11.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12.xml"/><Relationship Id="rId1" Type="http://schemas.microsoft.com/office/2011/relationships/chartStyle" Target="style12.xml"/></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13.xml"/><Relationship Id="rId1" Type="http://schemas.microsoft.com/office/2011/relationships/chartStyle" Target="style13.xml"/></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13.xlsx"/><Relationship Id="rId2" Type="http://schemas.microsoft.com/office/2011/relationships/chartColorStyle" Target="colors14.xml"/><Relationship Id="rId1" Type="http://schemas.microsoft.com/office/2011/relationships/chartStyle" Target="style14.xml"/></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14.xlsx"/><Relationship Id="rId2" Type="http://schemas.microsoft.com/office/2011/relationships/chartColorStyle" Target="colors15.xml"/><Relationship Id="rId1" Type="http://schemas.microsoft.com/office/2011/relationships/chartStyle" Target="style15.xml"/></Relationships>
</file>

<file path=ppt/charts/_rels/chart16.xml.rels><?xml version="1.0" encoding="UTF-8" standalone="yes"?>
<Relationships xmlns="http://schemas.openxmlformats.org/package/2006/relationships"><Relationship Id="rId3" Type="http://schemas.openxmlformats.org/officeDocument/2006/relationships/package" Target="../embeddings/Microsoft_Excel_Worksheet15.xlsx"/><Relationship Id="rId2" Type="http://schemas.microsoft.com/office/2011/relationships/chartColorStyle" Target="colors16.xml"/><Relationship Id="rId1" Type="http://schemas.microsoft.com/office/2011/relationships/chartStyle" Target="style16.xml"/></Relationships>
</file>

<file path=ppt/charts/_rels/chart17.xml.rels><?xml version="1.0" encoding="UTF-8" standalone="yes"?>
<Relationships xmlns="http://schemas.openxmlformats.org/package/2006/relationships"><Relationship Id="rId3" Type="http://schemas.openxmlformats.org/officeDocument/2006/relationships/package" Target="../embeddings/Microsoft_Excel_Worksheet16.xlsx"/><Relationship Id="rId2" Type="http://schemas.microsoft.com/office/2011/relationships/chartColorStyle" Target="colors17.xml"/><Relationship Id="rId1" Type="http://schemas.microsoft.com/office/2011/relationships/chartStyle" Target="style17.xml"/></Relationships>
</file>

<file path=ppt/charts/_rels/chart18.xml.rels><?xml version="1.0" encoding="UTF-8" standalone="yes"?>
<Relationships xmlns="http://schemas.openxmlformats.org/package/2006/relationships"><Relationship Id="rId3" Type="http://schemas.openxmlformats.org/officeDocument/2006/relationships/package" Target="../embeddings/Microsoft_Excel_Worksheet17.xlsx"/><Relationship Id="rId2" Type="http://schemas.microsoft.com/office/2011/relationships/chartColorStyle" Target="colors18.xml"/><Relationship Id="rId1" Type="http://schemas.microsoft.com/office/2011/relationships/chartStyle" Target="style18.xml"/></Relationships>
</file>

<file path=ppt/charts/_rels/chart19.xml.rels><?xml version="1.0" encoding="UTF-8" standalone="yes"?>
<Relationships xmlns="http://schemas.openxmlformats.org/package/2006/relationships"><Relationship Id="rId3" Type="http://schemas.openxmlformats.org/officeDocument/2006/relationships/package" Target="../embeddings/Microsoft_Excel_Worksheet18.xlsx"/><Relationship Id="rId2" Type="http://schemas.microsoft.com/office/2011/relationships/chartColorStyle" Target="colors19.xml"/><Relationship Id="rId1" Type="http://schemas.microsoft.com/office/2011/relationships/chartStyle" Target="style19.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20.xml.rels><?xml version="1.0" encoding="UTF-8" standalone="yes"?>
<Relationships xmlns="http://schemas.openxmlformats.org/package/2006/relationships"><Relationship Id="rId3" Type="http://schemas.openxmlformats.org/officeDocument/2006/relationships/package" Target="../embeddings/Microsoft_Excel_Worksheet19.xlsx"/><Relationship Id="rId2" Type="http://schemas.microsoft.com/office/2011/relationships/chartColorStyle" Target="colors20.xml"/><Relationship Id="rId1" Type="http://schemas.microsoft.com/office/2011/relationships/chartStyle" Target="style20.xml"/></Relationships>
</file>

<file path=ppt/charts/_rels/chart21.xml.rels><?xml version="1.0" encoding="UTF-8" standalone="yes"?>
<Relationships xmlns="http://schemas.openxmlformats.org/package/2006/relationships"><Relationship Id="rId3" Type="http://schemas.openxmlformats.org/officeDocument/2006/relationships/package" Target="../embeddings/Microsoft_Excel_Worksheet20.xlsx"/><Relationship Id="rId2" Type="http://schemas.microsoft.com/office/2011/relationships/chartColorStyle" Target="colors21.xml"/><Relationship Id="rId1" Type="http://schemas.microsoft.com/office/2011/relationships/chartStyle" Target="style21.xml"/></Relationships>
</file>

<file path=ppt/charts/_rels/chart22.xml.rels><?xml version="1.0" encoding="UTF-8" standalone="yes"?>
<Relationships xmlns="http://schemas.openxmlformats.org/package/2006/relationships"><Relationship Id="rId3" Type="http://schemas.openxmlformats.org/officeDocument/2006/relationships/package" Target="../embeddings/Microsoft_Excel_Worksheet21.xlsx"/><Relationship Id="rId2" Type="http://schemas.microsoft.com/office/2011/relationships/chartColorStyle" Target="colors22.xml"/><Relationship Id="rId1" Type="http://schemas.microsoft.com/office/2011/relationships/chartStyle" Target="style22.xml"/></Relationships>
</file>

<file path=ppt/charts/_rels/chart23.xml.rels><?xml version="1.0" encoding="UTF-8" standalone="yes"?>
<Relationships xmlns="http://schemas.openxmlformats.org/package/2006/relationships"><Relationship Id="rId3" Type="http://schemas.openxmlformats.org/officeDocument/2006/relationships/package" Target="../embeddings/Microsoft_Excel_Worksheet22.xlsx"/><Relationship Id="rId2" Type="http://schemas.microsoft.com/office/2011/relationships/chartColorStyle" Target="colors23.xml"/><Relationship Id="rId1" Type="http://schemas.microsoft.com/office/2011/relationships/chartStyle" Target="style23.xml"/></Relationships>
</file>

<file path=ppt/charts/_rels/chart24.xml.rels><?xml version="1.0" encoding="UTF-8" standalone="yes"?>
<Relationships xmlns="http://schemas.openxmlformats.org/package/2006/relationships"><Relationship Id="rId3" Type="http://schemas.openxmlformats.org/officeDocument/2006/relationships/package" Target="../embeddings/Microsoft_Excel_Worksheet23.xlsx"/><Relationship Id="rId2" Type="http://schemas.microsoft.com/office/2011/relationships/chartColorStyle" Target="colors24.xml"/><Relationship Id="rId1" Type="http://schemas.microsoft.com/office/2011/relationships/chartStyle" Target="style24.xml"/></Relationships>
</file>

<file path=ppt/charts/_rels/chart25.xml.rels><?xml version="1.0" encoding="UTF-8" standalone="yes"?>
<Relationships xmlns="http://schemas.openxmlformats.org/package/2006/relationships"><Relationship Id="rId3" Type="http://schemas.openxmlformats.org/officeDocument/2006/relationships/package" Target="../embeddings/Microsoft_Excel_Worksheet24.xlsx"/><Relationship Id="rId2" Type="http://schemas.microsoft.com/office/2011/relationships/chartColorStyle" Target="colors25.xml"/><Relationship Id="rId1" Type="http://schemas.microsoft.com/office/2011/relationships/chartStyle" Target="style25.xml"/></Relationships>
</file>

<file path=ppt/charts/_rels/chart26.xml.rels><?xml version="1.0" encoding="UTF-8" standalone="yes"?>
<Relationships xmlns="http://schemas.openxmlformats.org/package/2006/relationships"><Relationship Id="rId3" Type="http://schemas.openxmlformats.org/officeDocument/2006/relationships/package" Target="../embeddings/Microsoft_Excel_Worksheet25.xlsx"/><Relationship Id="rId2" Type="http://schemas.microsoft.com/office/2011/relationships/chartColorStyle" Target="colors26.xml"/><Relationship Id="rId1" Type="http://schemas.microsoft.com/office/2011/relationships/chartStyle" Target="style26.xml"/></Relationships>
</file>

<file path=ppt/charts/_rels/chart27.xml.rels><?xml version="1.0" encoding="UTF-8" standalone="yes"?>
<Relationships xmlns="http://schemas.openxmlformats.org/package/2006/relationships"><Relationship Id="rId3" Type="http://schemas.openxmlformats.org/officeDocument/2006/relationships/package" Target="../embeddings/Microsoft_Excel_Worksheet26.xlsx"/><Relationship Id="rId2" Type="http://schemas.microsoft.com/office/2011/relationships/chartColorStyle" Target="colors27.xml"/><Relationship Id="rId1" Type="http://schemas.microsoft.com/office/2011/relationships/chartStyle" Target="style27.xml"/></Relationships>
</file>

<file path=ppt/charts/_rels/chart28.xml.rels><?xml version="1.0" encoding="UTF-8" standalone="yes"?>
<Relationships xmlns="http://schemas.openxmlformats.org/package/2006/relationships"><Relationship Id="rId3" Type="http://schemas.openxmlformats.org/officeDocument/2006/relationships/package" Target="../embeddings/Microsoft_Excel_Worksheet27.xlsx"/><Relationship Id="rId2" Type="http://schemas.microsoft.com/office/2011/relationships/chartColorStyle" Target="colors28.xml"/><Relationship Id="rId1" Type="http://schemas.microsoft.com/office/2011/relationships/chartStyle" Target="style28.xml"/></Relationships>
</file>

<file path=ppt/charts/_rels/chart29.xml.rels><?xml version="1.0" encoding="UTF-8" standalone="yes"?>
<Relationships xmlns="http://schemas.openxmlformats.org/package/2006/relationships"><Relationship Id="rId3" Type="http://schemas.openxmlformats.org/officeDocument/2006/relationships/package" Target="../embeddings/Microsoft_Excel_Worksheet28.xlsx"/><Relationship Id="rId2" Type="http://schemas.microsoft.com/office/2011/relationships/chartColorStyle" Target="colors29.xml"/><Relationship Id="rId1" Type="http://schemas.microsoft.com/office/2011/relationships/chartStyle" Target="style29.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30.xml.rels><?xml version="1.0" encoding="UTF-8" standalone="yes"?>
<Relationships xmlns="http://schemas.openxmlformats.org/package/2006/relationships"><Relationship Id="rId3" Type="http://schemas.openxmlformats.org/officeDocument/2006/relationships/package" Target="../embeddings/Microsoft_Excel_Worksheet29.xlsx"/><Relationship Id="rId2" Type="http://schemas.microsoft.com/office/2011/relationships/chartColorStyle" Target="colors30.xml"/><Relationship Id="rId1" Type="http://schemas.microsoft.com/office/2011/relationships/chartStyle" Target="style30.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United States</c:v>
                </c:pt>
              </c:strCache>
            </c:strRef>
          </c:tx>
          <c:spPr>
            <a:ln w="38100" cap="rnd">
              <a:solidFill>
                <a:schemeClr val="accent1"/>
              </a:solidFill>
              <a:round/>
            </a:ln>
            <a:effectLst/>
          </c:spPr>
          <c:marker>
            <c:symbol val="none"/>
          </c:marker>
          <c:cat>
            <c:numRef>
              <c:f>Sheet1!$A$2:$A$33</c:f>
              <c:numCache>
                <c:formatCode>General</c:formatCode>
                <c:ptCount val="32"/>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numCache>
            </c:numRef>
          </c:cat>
          <c:val>
            <c:numRef>
              <c:f>Sheet1!$B$2:$B$33</c:f>
              <c:numCache>
                <c:formatCode>0.00</c:formatCode>
                <c:ptCount val="32"/>
                <c:pt idx="0">
                  <c:v>1</c:v>
                </c:pt>
                <c:pt idx="1">
                  <c:v>1.0168597473444223</c:v>
                </c:pt>
                <c:pt idx="2">
                  <c:v>1.0310625322888316</c:v>
                </c:pt>
                <c:pt idx="3">
                  <c:v>1.0447467263306138</c:v>
                </c:pt>
                <c:pt idx="4">
                  <c:v>1.0576386117440195</c:v>
                </c:pt>
                <c:pt idx="5">
                  <c:v>1.0703107865886772</c:v>
                </c:pt>
                <c:pt idx="6">
                  <c:v>1.0828353461584226</c:v>
                </c:pt>
                <c:pt idx="7">
                  <c:v>1.0959097971466905</c:v>
                </c:pt>
                <c:pt idx="8">
                  <c:v>1.1088016705013384</c:v>
                </c:pt>
                <c:pt idx="9">
                  <c:v>1.1216083447119103</c:v>
                </c:pt>
                <c:pt idx="10">
                  <c:v>1.1341633928411865</c:v>
                </c:pt>
                <c:pt idx="11">
                  <c:v>1.145755046704735</c:v>
                </c:pt>
                <c:pt idx="12">
                  <c:v>1.1565919710490769</c:v>
                </c:pt>
                <c:pt idx="13">
                  <c:v>1.166626662407299</c:v>
                </c:pt>
                <c:pt idx="14">
                  <c:v>1.17745582091156</c:v>
                </c:pt>
                <c:pt idx="15">
                  <c:v>1.1882376809477919</c:v>
                </c:pt>
                <c:pt idx="16">
                  <c:v>1.199546110764788</c:v>
                </c:pt>
                <c:pt idx="17">
                  <c:v>1.2114513687055988</c:v>
                </c:pt>
                <c:pt idx="18">
                  <c:v>1.222640959463593</c:v>
                </c:pt>
                <c:pt idx="19">
                  <c:v>1.2326048980696911</c:v>
                </c:pt>
                <c:pt idx="20">
                  <c:v>1.2433450267644532</c:v>
                </c:pt>
                <c:pt idx="21">
                  <c:v>1.2523296374660655</c:v>
                </c:pt>
                <c:pt idx="22">
                  <c:v>1.2614706422183335</c:v>
                </c:pt>
                <c:pt idx="23">
                  <c:v>1.2701639012705759</c:v>
                </c:pt>
                <c:pt idx="24">
                  <c:v>1.2794382638263446</c:v>
                </c:pt>
                <c:pt idx="25">
                  <c:v>1.2888206005002567</c:v>
                </c:pt>
                <c:pt idx="26">
                  <c:v>1.2980903606300978</c:v>
                </c:pt>
                <c:pt idx="27">
                  <c:v>1.3063073108044598</c:v>
                </c:pt>
                <c:pt idx="28">
                  <c:v>1.3131484933695443</c:v>
                </c:pt>
                <c:pt idx="29">
                  <c:v>1.3193869792153079</c:v>
                </c:pt>
                <c:pt idx="30">
                  <c:v>1.3324970879506552</c:v>
                </c:pt>
                <c:pt idx="31">
                  <c:v>1.3340754386728915</c:v>
                </c:pt>
              </c:numCache>
            </c:numRef>
          </c:val>
          <c:smooth val="0"/>
          <c:extLst>
            <c:ext xmlns:c16="http://schemas.microsoft.com/office/drawing/2014/chart" uri="{C3380CC4-5D6E-409C-BE32-E72D297353CC}">
              <c16:uniqueId val="{00000000-DB59-4D1E-94C4-FDDF6616C3B1}"/>
            </c:ext>
          </c:extLst>
        </c:ser>
        <c:ser>
          <c:idx val="1"/>
          <c:order val="1"/>
          <c:tx>
            <c:strRef>
              <c:f>Sheet1!$C$1</c:f>
              <c:strCache>
                <c:ptCount val="1"/>
                <c:pt idx="0">
                  <c:v>North Carolina</c:v>
                </c:pt>
              </c:strCache>
            </c:strRef>
          </c:tx>
          <c:spPr>
            <a:ln w="38100" cap="rnd">
              <a:solidFill>
                <a:schemeClr val="accent2"/>
              </a:solidFill>
              <a:round/>
            </a:ln>
            <a:effectLst/>
          </c:spPr>
          <c:marker>
            <c:symbol val="none"/>
          </c:marker>
          <c:cat>
            <c:numRef>
              <c:f>Sheet1!$A$2:$A$33</c:f>
              <c:numCache>
                <c:formatCode>General</c:formatCode>
                <c:ptCount val="32"/>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numCache>
            </c:numRef>
          </c:cat>
          <c:val>
            <c:numRef>
              <c:f>Sheet1!$C$2:$C$33</c:f>
              <c:numCache>
                <c:formatCode>0.00</c:formatCode>
                <c:ptCount val="32"/>
                <c:pt idx="0">
                  <c:v>1</c:v>
                </c:pt>
                <c:pt idx="1">
                  <c:v>1.0228923016056817</c:v>
                </c:pt>
                <c:pt idx="2">
                  <c:v>1.0399198003512429</c:v>
                </c:pt>
                <c:pt idx="3">
                  <c:v>1.0618730821560909</c:v>
                </c:pt>
                <c:pt idx="4">
                  <c:v>1.0836719714952909</c:v>
                </c:pt>
                <c:pt idx="5">
                  <c:v>1.107385086170295</c:v>
                </c:pt>
                <c:pt idx="6">
                  <c:v>1.1309052102632391</c:v>
                </c:pt>
                <c:pt idx="7">
                  <c:v>1.1544493074050486</c:v>
                </c:pt>
                <c:pt idx="8">
                  <c:v>1.177411568096727</c:v>
                </c:pt>
                <c:pt idx="9">
                  <c:v>1.1985560987436312</c:v>
                </c:pt>
                <c:pt idx="10">
                  <c:v>1.2182911950459319</c:v>
                </c:pt>
                <c:pt idx="11">
                  <c:v>1.2367180262853172</c:v>
                </c:pt>
                <c:pt idx="12">
                  <c:v>1.2530976496159487</c:v>
                </c:pt>
                <c:pt idx="13">
                  <c:v>1.266472801596032</c:v>
                </c:pt>
                <c:pt idx="14">
                  <c:v>1.284278293625521</c:v>
                </c:pt>
                <c:pt idx="15">
                  <c:v>1.3050104576771653</c:v>
                </c:pt>
                <c:pt idx="16">
                  <c:v>1.3349292749826309</c:v>
                </c:pt>
                <c:pt idx="17">
                  <c:v>1.3641804654932839</c:v>
                </c:pt>
                <c:pt idx="18">
                  <c:v>1.3916559918750966</c:v>
                </c:pt>
                <c:pt idx="19">
                  <c:v>1.410807442440559</c:v>
                </c:pt>
                <c:pt idx="20">
                  <c:v>1.4435579442160722</c:v>
                </c:pt>
                <c:pt idx="21">
                  <c:v>1.4561127354485102</c:v>
                </c:pt>
                <c:pt idx="22">
                  <c:v>1.4699664437625444</c:v>
                </c:pt>
                <c:pt idx="23">
                  <c:v>1.4841180812876331</c:v>
                </c:pt>
                <c:pt idx="24">
                  <c:v>1.4976200341110855</c:v>
                </c:pt>
                <c:pt idx="25">
                  <c:v>1.5125103129342288</c:v>
                </c:pt>
                <c:pt idx="26">
                  <c:v>1.5310769115717153</c:v>
                </c:pt>
                <c:pt idx="27">
                  <c:v>1.5481814557762081</c:v>
                </c:pt>
                <c:pt idx="28">
                  <c:v>1.5652765012254901</c:v>
                </c:pt>
                <c:pt idx="29">
                  <c:v>1.5813292467577582</c:v>
                </c:pt>
                <c:pt idx="30">
                  <c:v>1.5766692780704801</c:v>
                </c:pt>
                <c:pt idx="31">
                  <c:v>1.5908397623320982</c:v>
                </c:pt>
              </c:numCache>
            </c:numRef>
          </c:val>
          <c:smooth val="0"/>
          <c:extLst>
            <c:ext xmlns:c16="http://schemas.microsoft.com/office/drawing/2014/chart" uri="{C3380CC4-5D6E-409C-BE32-E72D297353CC}">
              <c16:uniqueId val="{00000001-DB59-4D1E-94C4-FDDF6616C3B1}"/>
            </c:ext>
          </c:extLst>
        </c:ser>
        <c:ser>
          <c:idx val="2"/>
          <c:order val="2"/>
          <c:tx>
            <c:strRef>
              <c:f>Sheet1!$D$1</c:f>
              <c:strCache>
                <c:ptCount val="1"/>
                <c:pt idx="0">
                  <c:v>Piedmont Triad</c:v>
                </c:pt>
              </c:strCache>
            </c:strRef>
          </c:tx>
          <c:spPr>
            <a:ln w="38100" cap="rnd">
              <a:solidFill>
                <a:schemeClr val="accent3"/>
              </a:solidFill>
              <a:round/>
            </a:ln>
            <a:effectLst/>
          </c:spPr>
          <c:marker>
            <c:symbol val="none"/>
          </c:marker>
          <c:cat>
            <c:numRef>
              <c:f>Sheet1!$A$2:$A$33</c:f>
              <c:numCache>
                <c:formatCode>General</c:formatCode>
                <c:ptCount val="32"/>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numCache>
            </c:numRef>
          </c:cat>
          <c:val>
            <c:numRef>
              <c:f>Sheet1!$D$2:$D$33</c:f>
              <c:numCache>
                <c:formatCode>0.00</c:formatCode>
                <c:ptCount val="32"/>
                <c:pt idx="0">
                  <c:v>1</c:v>
                </c:pt>
                <c:pt idx="1">
                  <c:v>1.020215072462368</c:v>
                </c:pt>
                <c:pt idx="2">
                  <c:v>1.035442595683254</c:v>
                </c:pt>
                <c:pt idx="3">
                  <c:v>1.0532262882086929</c:v>
                </c:pt>
                <c:pt idx="4">
                  <c:v>1.0725428772241692</c:v>
                </c:pt>
                <c:pt idx="5">
                  <c:v>1.0928561709952476</c:v>
                </c:pt>
                <c:pt idx="6">
                  <c:v>1.1126236119195583</c:v>
                </c:pt>
                <c:pt idx="7">
                  <c:v>1.1319426162131176</c:v>
                </c:pt>
                <c:pt idx="8">
                  <c:v>1.1508461926763938</c:v>
                </c:pt>
                <c:pt idx="9">
                  <c:v>1.167645256836646</c:v>
                </c:pt>
                <c:pt idx="10">
                  <c:v>1.1832463430677091</c:v>
                </c:pt>
                <c:pt idx="11">
                  <c:v>1.1968910540515083</c:v>
                </c:pt>
                <c:pt idx="12">
                  <c:v>1.2077445086640051</c:v>
                </c:pt>
                <c:pt idx="13">
                  <c:v>1.2165047222711987</c:v>
                </c:pt>
                <c:pt idx="14">
                  <c:v>1.2253116312546646</c:v>
                </c:pt>
                <c:pt idx="15">
                  <c:v>1.2405705530906301</c:v>
                </c:pt>
                <c:pt idx="16">
                  <c:v>1.2611583834704809</c:v>
                </c:pt>
                <c:pt idx="17">
                  <c:v>1.2808388743838022</c:v>
                </c:pt>
                <c:pt idx="18">
                  <c:v>1.300087030520259</c:v>
                </c:pt>
                <c:pt idx="19">
                  <c:v>1.3113647689826768</c:v>
                </c:pt>
                <c:pt idx="20">
                  <c:v>1.3229234847954219</c:v>
                </c:pt>
                <c:pt idx="21">
                  <c:v>1.3297804592731783</c:v>
                </c:pt>
                <c:pt idx="22">
                  <c:v>1.3359651813511548</c:v>
                </c:pt>
                <c:pt idx="23">
                  <c:v>1.3427730451745561</c:v>
                </c:pt>
                <c:pt idx="24">
                  <c:v>1.3507104540481267</c:v>
                </c:pt>
                <c:pt idx="25">
                  <c:v>1.3580690012744618</c:v>
                </c:pt>
                <c:pt idx="26">
                  <c:v>1.370272596335379</c:v>
                </c:pt>
                <c:pt idx="27">
                  <c:v>1.3799119711648</c:v>
                </c:pt>
                <c:pt idx="28">
                  <c:v>1.3894177006069595</c:v>
                </c:pt>
                <c:pt idx="29">
                  <c:v>1.3999982287960724</c:v>
                </c:pt>
                <c:pt idx="30">
                  <c:v>1.4045961131734903</c:v>
                </c:pt>
                <c:pt idx="31">
                  <c:v>1.4119933048491538</c:v>
                </c:pt>
              </c:numCache>
            </c:numRef>
          </c:val>
          <c:smooth val="0"/>
          <c:extLst>
            <c:ext xmlns:c16="http://schemas.microsoft.com/office/drawing/2014/chart" uri="{C3380CC4-5D6E-409C-BE32-E72D297353CC}">
              <c16:uniqueId val="{00000002-DB59-4D1E-94C4-FDDF6616C3B1}"/>
            </c:ext>
          </c:extLst>
        </c:ser>
        <c:ser>
          <c:idx val="3"/>
          <c:order val="3"/>
          <c:tx>
            <c:strRef>
              <c:f>Sheet1!$E$1</c:f>
              <c:strCache>
                <c:ptCount val="1"/>
                <c:pt idx="0">
                  <c:v>Western Piedmont</c:v>
                </c:pt>
              </c:strCache>
            </c:strRef>
          </c:tx>
          <c:spPr>
            <a:ln w="28575" cap="rnd">
              <a:solidFill>
                <a:schemeClr val="accent4"/>
              </a:solidFill>
              <a:round/>
            </a:ln>
            <a:effectLst/>
          </c:spPr>
          <c:marker>
            <c:symbol val="none"/>
          </c:marker>
          <c:cat>
            <c:numRef>
              <c:f>Sheet1!$A$2:$A$33</c:f>
              <c:numCache>
                <c:formatCode>General</c:formatCode>
                <c:ptCount val="32"/>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numCache>
            </c:numRef>
          </c:cat>
          <c:val>
            <c:numRef>
              <c:f>Sheet1!$E$2:$E$33</c:f>
              <c:numCache>
                <c:formatCode>0.00</c:formatCode>
                <c:ptCount val="32"/>
                <c:pt idx="0">
                  <c:v>1</c:v>
                </c:pt>
                <c:pt idx="1">
                  <c:v>1.0158034233340743</c:v>
                </c:pt>
                <c:pt idx="2">
                  <c:v>1.029356543150767</c:v>
                </c:pt>
                <c:pt idx="3">
                  <c:v>1.0458507891451925</c:v>
                </c:pt>
                <c:pt idx="4">
                  <c:v>1.0635693644089534</c:v>
                </c:pt>
                <c:pt idx="5">
                  <c:v>1.0825943468818933</c:v>
                </c:pt>
                <c:pt idx="6">
                  <c:v>1.1008874677245601</c:v>
                </c:pt>
                <c:pt idx="7">
                  <c:v>1.1200766060771874</c:v>
                </c:pt>
                <c:pt idx="8">
                  <c:v>1.1383560472632137</c:v>
                </c:pt>
                <c:pt idx="9">
                  <c:v>1.155777089995041</c:v>
                </c:pt>
                <c:pt idx="10">
                  <c:v>1.1739539337562628</c:v>
                </c:pt>
                <c:pt idx="11">
                  <c:v>1.186747832629401</c:v>
                </c:pt>
                <c:pt idx="12">
                  <c:v>1.1911903011234417</c:v>
                </c:pt>
                <c:pt idx="13">
                  <c:v>1.1941793060994168</c:v>
                </c:pt>
                <c:pt idx="14">
                  <c:v>1.2005950650638668</c:v>
                </c:pt>
                <c:pt idx="15">
                  <c:v>1.2097706947555615</c:v>
                </c:pt>
                <c:pt idx="16">
                  <c:v>1.220683640840615</c:v>
                </c:pt>
                <c:pt idx="17">
                  <c:v>1.2324515654657069</c:v>
                </c:pt>
                <c:pt idx="18">
                  <c:v>1.2431900959285922</c:v>
                </c:pt>
                <c:pt idx="19">
                  <c:v>1.2484841230485115</c:v>
                </c:pt>
                <c:pt idx="20">
                  <c:v>1.2502009199569091</c:v>
                </c:pt>
                <c:pt idx="21">
                  <c:v>1.2464834732648211</c:v>
                </c:pt>
                <c:pt idx="22">
                  <c:v>1.2437201826234161</c:v>
                </c:pt>
                <c:pt idx="23">
                  <c:v>1.2427249876028112</c:v>
                </c:pt>
                <c:pt idx="24">
                  <c:v>1.2415485371317181</c:v>
                </c:pt>
                <c:pt idx="25">
                  <c:v>1.242612130435526</c:v>
                </c:pt>
                <c:pt idx="26">
                  <c:v>1.2475778457960705</c:v>
                </c:pt>
                <c:pt idx="27">
                  <c:v>1.255399189480344</c:v>
                </c:pt>
                <c:pt idx="28">
                  <c:v>1.260063952394795</c:v>
                </c:pt>
                <c:pt idx="29">
                  <c:v>1.2643798840649099</c:v>
                </c:pt>
                <c:pt idx="30">
                  <c:v>1.249072348284058</c:v>
                </c:pt>
                <c:pt idx="31">
                  <c:v>1.2531967647612046</c:v>
                </c:pt>
              </c:numCache>
            </c:numRef>
          </c:val>
          <c:smooth val="0"/>
          <c:extLst>
            <c:ext xmlns:c16="http://schemas.microsoft.com/office/drawing/2014/chart" uri="{C3380CC4-5D6E-409C-BE32-E72D297353CC}">
              <c16:uniqueId val="{00000000-2234-4E8D-B3C9-A4E68DBF4A83}"/>
            </c:ext>
          </c:extLst>
        </c:ser>
        <c:ser>
          <c:idx val="4"/>
          <c:order val="4"/>
          <c:tx>
            <c:strRef>
              <c:f>Sheet1!$F$1</c:f>
              <c:strCache>
                <c:ptCount val="1"/>
                <c:pt idx="0">
                  <c:v>High Country</c:v>
                </c:pt>
              </c:strCache>
            </c:strRef>
          </c:tx>
          <c:spPr>
            <a:ln w="28575" cap="rnd">
              <a:solidFill>
                <a:schemeClr val="accent5"/>
              </a:solidFill>
              <a:round/>
            </a:ln>
            <a:effectLst/>
          </c:spPr>
          <c:marker>
            <c:symbol val="none"/>
          </c:marker>
          <c:cat>
            <c:numRef>
              <c:f>Sheet1!$A$2:$A$33</c:f>
              <c:numCache>
                <c:formatCode>General</c:formatCode>
                <c:ptCount val="32"/>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numCache>
            </c:numRef>
          </c:cat>
          <c:val>
            <c:numRef>
              <c:f>Sheet1!$F$2:$F$33</c:f>
              <c:numCache>
                <c:formatCode>0.00</c:formatCode>
                <c:ptCount val="32"/>
                <c:pt idx="0">
                  <c:v>1</c:v>
                </c:pt>
                <c:pt idx="1">
                  <c:v>1.0113268889235985</c:v>
                </c:pt>
                <c:pt idx="2">
                  <c:v>1.0228446804695048</c:v>
                </c:pt>
                <c:pt idx="3">
                  <c:v>1.0325922840631019</c:v>
                </c:pt>
                <c:pt idx="4">
                  <c:v>1.0465050357797794</c:v>
                </c:pt>
                <c:pt idx="5">
                  <c:v>1.0599202836928665</c:v>
                </c:pt>
                <c:pt idx="6">
                  <c:v>1.074914816935955</c:v>
                </c:pt>
                <c:pt idx="7">
                  <c:v>1.0859235348223737</c:v>
                </c:pt>
                <c:pt idx="8">
                  <c:v>1.0954339563700735</c:v>
                </c:pt>
                <c:pt idx="9">
                  <c:v>1.113031707190087</c:v>
                </c:pt>
                <c:pt idx="10">
                  <c:v>1.12469990686266</c:v>
                </c:pt>
                <c:pt idx="11">
                  <c:v>1.1349912936834372</c:v>
                </c:pt>
                <c:pt idx="12">
                  <c:v>1.138745711922158</c:v>
                </c:pt>
                <c:pt idx="13">
                  <c:v>1.1399663317193385</c:v>
                </c:pt>
                <c:pt idx="14">
                  <c:v>1.1400241809988256</c:v>
                </c:pt>
                <c:pt idx="15">
                  <c:v>1.1422976576826736</c:v>
                </c:pt>
                <c:pt idx="16">
                  <c:v>1.1489618946796019</c:v>
                </c:pt>
                <c:pt idx="17">
                  <c:v>1.1554294441262734</c:v>
                </c:pt>
                <c:pt idx="18">
                  <c:v>1.1631233982980742</c:v>
                </c:pt>
                <c:pt idx="19">
                  <c:v>1.1598144195114051</c:v>
                </c:pt>
                <c:pt idx="20">
                  <c:v>1.2131977346222154</c:v>
                </c:pt>
                <c:pt idx="21">
                  <c:v>1.2113176330388804</c:v>
                </c:pt>
                <c:pt idx="22">
                  <c:v>1.2113639124624702</c:v>
                </c:pt>
                <c:pt idx="23">
                  <c:v>1.2098135517722126</c:v>
                </c:pt>
                <c:pt idx="24">
                  <c:v>1.2080665035316984</c:v>
                </c:pt>
                <c:pt idx="25">
                  <c:v>1.2089458125799044</c:v>
                </c:pt>
                <c:pt idx="26">
                  <c:v>1.2165009284809358</c:v>
                </c:pt>
                <c:pt idx="27">
                  <c:v>1.2243857852750444</c:v>
                </c:pt>
                <c:pt idx="28">
                  <c:v>1.2335259714340259</c:v>
                </c:pt>
                <c:pt idx="29">
                  <c:v>1.2351920306832578</c:v>
                </c:pt>
                <c:pt idx="30">
                  <c:v>1.2065334976252871</c:v>
                </c:pt>
                <c:pt idx="31">
                  <c:v>1.2112713536152908</c:v>
                </c:pt>
              </c:numCache>
            </c:numRef>
          </c:val>
          <c:smooth val="0"/>
          <c:extLst>
            <c:ext xmlns:c16="http://schemas.microsoft.com/office/drawing/2014/chart" uri="{C3380CC4-5D6E-409C-BE32-E72D297353CC}">
              <c16:uniqueId val="{00000001-2234-4E8D-B3C9-A4E68DBF4A83}"/>
            </c:ext>
          </c:extLst>
        </c:ser>
        <c:ser>
          <c:idx val="5"/>
          <c:order val="5"/>
          <c:tx>
            <c:strRef>
              <c:f>Sheet1!$G$1</c:f>
              <c:strCache>
                <c:ptCount val="1"/>
                <c:pt idx="0">
                  <c:v>Centralina Regional Councils</c:v>
                </c:pt>
              </c:strCache>
            </c:strRef>
          </c:tx>
          <c:spPr>
            <a:ln w="28575" cap="rnd">
              <a:solidFill>
                <a:schemeClr val="accent6"/>
              </a:solidFill>
              <a:round/>
            </a:ln>
            <a:effectLst/>
          </c:spPr>
          <c:marker>
            <c:symbol val="none"/>
          </c:marker>
          <c:cat>
            <c:numRef>
              <c:f>Sheet1!$A$2:$A$33</c:f>
              <c:numCache>
                <c:formatCode>General</c:formatCode>
                <c:ptCount val="32"/>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numCache>
            </c:numRef>
          </c:cat>
          <c:val>
            <c:numRef>
              <c:f>Sheet1!$G$2:$G$33</c:f>
              <c:numCache>
                <c:formatCode>0.00</c:formatCode>
                <c:ptCount val="32"/>
                <c:pt idx="0">
                  <c:v>1</c:v>
                </c:pt>
                <c:pt idx="1">
                  <c:v>1.0296614164621738</c:v>
                </c:pt>
                <c:pt idx="2">
                  <c:v>1.0488104644749698</c:v>
                </c:pt>
                <c:pt idx="3">
                  <c:v>1.0728064327451223</c:v>
                </c:pt>
                <c:pt idx="4">
                  <c:v>1.1001916573563633</c:v>
                </c:pt>
                <c:pt idx="5">
                  <c:v>1.129464252190042</c:v>
                </c:pt>
                <c:pt idx="6">
                  <c:v>1.1613059066677902</c:v>
                </c:pt>
                <c:pt idx="7">
                  <c:v>1.1943382230851578</c:v>
                </c:pt>
                <c:pt idx="8">
                  <c:v>1.2275666190791268</c:v>
                </c:pt>
                <c:pt idx="9">
                  <c:v>1.2625405404954388</c:v>
                </c:pt>
                <c:pt idx="10">
                  <c:v>1.2943913731661345</c:v>
                </c:pt>
                <c:pt idx="11">
                  <c:v>1.32579581190712</c:v>
                </c:pt>
                <c:pt idx="12">
                  <c:v>1.3528748186263917</c:v>
                </c:pt>
                <c:pt idx="13">
                  <c:v>1.3779387948031403</c:v>
                </c:pt>
                <c:pt idx="14">
                  <c:v>1.4053298600826205</c:v>
                </c:pt>
                <c:pt idx="15">
                  <c:v>1.4445925007488571</c:v>
                </c:pt>
                <c:pt idx="16">
                  <c:v>1.4981063719187346</c:v>
                </c:pt>
                <c:pt idx="17">
                  <c:v>1.5525497437198215</c:v>
                </c:pt>
                <c:pt idx="18">
                  <c:v>1.5982963605127438</c:v>
                </c:pt>
                <c:pt idx="19">
                  <c:v>1.6285493532294306</c:v>
                </c:pt>
                <c:pt idx="20">
                  <c:v>1.646818963481639</c:v>
                </c:pt>
                <c:pt idx="21">
                  <c:v>1.6695575193180101</c:v>
                </c:pt>
                <c:pt idx="22">
                  <c:v>1.6963436582441449</c:v>
                </c:pt>
                <c:pt idx="23">
                  <c:v>1.7249178760326509</c:v>
                </c:pt>
                <c:pt idx="24">
                  <c:v>1.7528262576418887</c:v>
                </c:pt>
                <c:pt idx="25">
                  <c:v>1.7849774675363144</c:v>
                </c:pt>
                <c:pt idx="26">
                  <c:v>1.8193990286134336</c:v>
                </c:pt>
                <c:pt idx="27">
                  <c:v>1.8531630973230548</c:v>
                </c:pt>
                <c:pt idx="28">
                  <c:v>1.8807026824520461</c:v>
                </c:pt>
                <c:pt idx="29">
                  <c:v>1.9094429420947807</c:v>
                </c:pt>
                <c:pt idx="30">
                  <c:v>1.9353029179144141</c:v>
                </c:pt>
                <c:pt idx="31">
                  <c:v>1.9552312779465546</c:v>
                </c:pt>
              </c:numCache>
            </c:numRef>
          </c:val>
          <c:smooth val="0"/>
          <c:extLst>
            <c:ext xmlns:c16="http://schemas.microsoft.com/office/drawing/2014/chart" uri="{C3380CC4-5D6E-409C-BE32-E72D297353CC}">
              <c16:uniqueId val="{00000002-2234-4E8D-B3C9-A4E68DBF4A83}"/>
            </c:ext>
          </c:extLst>
        </c:ser>
        <c:ser>
          <c:idx val="6"/>
          <c:order val="6"/>
          <c:tx>
            <c:strRef>
              <c:f>Sheet1!$H$1</c:f>
              <c:strCache>
                <c:ptCount val="1"/>
                <c:pt idx="0">
                  <c:v>Mid-East Commission</c:v>
                </c:pt>
              </c:strCache>
            </c:strRef>
          </c:tx>
          <c:spPr>
            <a:ln w="28575" cap="rnd">
              <a:solidFill>
                <a:schemeClr val="accent1">
                  <a:lumMod val="60000"/>
                </a:schemeClr>
              </a:solidFill>
              <a:round/>
            </a:ln>
            <a:effectLst/>
          </c:spPr>
          <c:marker>
            <c:symbol val="none"/>
          </c:marker>
          <c:cat>
            <c:numRef>
              <c:f>Sheet1!$A$2:$A$33</c:f>
              <c:numCache>
                <c:formatCode>General</c:formatCode>
                <c:ptCount val="32"/>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numCache>
            </c:numRef>
          </c:cat>
          <c:val>
            <c:numRef>
              <c:f>Sheet1!$H$2:$H$33</c:f>
              <c:numCache>
                <c:formatCode>0.00</c:formatCode>
                <c:ptCount val="32"/>
                <c:pt idx="0">
                  <c:v>1</c:v>
                </c:pt>
                <c:pt idx="1">
                  <c:v>1.0187008684670504</c:v>
                </c:pt>
                <c:pt idx="2">
                  <c:v>1.0302911057626312</c:v>
                </c:pt>
                <c:pt idx="3">
                  <c:v>1.0468230944515113</c:v>
                </c:pt>
                <c:pt idx="4">
                  <c:v>1.0638767124541286</c:v>
                </c:pt>
                <c:pt idx="5">
                  <c:v>1.0778600386188719</c:v>
                </c:pt>
                <c:pt idx="6">
                  <c:v>1.0873637586595042</c:v>
                </c:pt>
                <c:pt idx="7">
                  <c:v>1.1014385987389383</c:v>
                </c:pt>
                <c:pt idx="8">
                  <c:v>1.1129739276857047</c:v>
                </c:pt>
                <c:pt idx="9">
                  <c:v>1.124065414146221</c:v>
                </c:pt>
                <c:pt idx="10">
                  <c:v>1.1295882788978064</c:v>
                </c:pt>
                <c:pt idx="11">
                  <c:v>1.1354360180465439</c:v>
                </c:pt>
                <c:pt idx="12">
                  <c:v>1.1444455629478463</c:v>
                </c:pt>
                <c:pt idx="13">
                  <c:v>1.1501972124861586</c:v>
                </c:pt>
                <c:pt idx="14">
                  <c:v>1.1583785564595097</c:v>
                </c:pt>
                <c:pt idx="15">
                  <c:v>1.1690719573911212</c:v>
                </c:pt>
                <c:pt idx="16">
                  <c:v>1.187997034949164</c:v>
                </c:pt>
                <c:pt idx="17">
                  <c:v>1.206967869464552</c:v>
                </c:pt>
                <c:pt idx="18">
                  <c:v>1.2263825464661902</c:v>
                </c:pt>
                <c:pt idx="19">
                  <c:v>1.2378126344110623</c:v>
                </c:pt>
                <c:pt idx="20">
                  <c:v>1.3141398149588646</c:v>
                </c:pt>
                <c:pt idx="21">
                  <c:v>1.3188436301739679</c:v>
                </c:pt>
                <c:pt idx="22">
                  <c:v>1.3239775607881179</c:v>
                </c:pt>
                <c:pt idx="23">
                  <c:v>1.3283244717359275</c:v>
                </c:pt>
                <c:pt idx="24">
                  <c:v>1.329907662460077</c:v>
                </c:pt>
                <c:pt idx="25">
                  <c:v>1.3327034125538788</c:v>
                </c:pt>
                <c:pt idx="26">
                  <c:v>1.3328727132960567</c:v>
                </c:pt>
                <c:pt idx="27">
                  <c:v>1.3342225435377448</c:v>
                </c:pt>
                <c:pt idx="28">
                  <c:v>1.3373614708116368</c:v>
                </c:pt>
                <c:pt idx="29">
                  <c:v>1.3397637110722684</c:v>
                </c:pt>
                <c:pt idx="30">
                  <c:v>1.264900753159518</c:v>
                </c:pt>
                <c:pt idx="31">
                  <c:v>1.2682638895244023</c:v>
                </c:pt>
              </c:numCache>
            </c:numRef>
          </c:val>
          <c:smooth val="0"/>
          <c:extLst>
            <c:ext xmlns:c16="http://schemas.microsoft.com/office/drawing/2014/chart" uri="{C3380CC4-5D6E-409C-BE32-E72D297353CC}">
              <c16:uniqueId val="{00000003-2234-4E8D-B3C9-A4E68DBF4A83}"/>
            </c:ext>
          </c:extLst>
        </c:ser>
        <c:ser>
          <c:idx val="7"/>
          <c:order val="7"/>
          <c:tx>
            <c:strRef>
              <c:f>Sheet1!$I$1</c:f>
              <c:strCache>
                <c:ptCount val="1"/>
                <c:pt idx="0">
                  <c:v>Lumber River</c:v>
                </c:pt>
              </c:strCache>
            </c:strRef>
          </c:tx>
          <c:spPr>
            <a:ln w="28575" cap="rnd">
              <a:solidFill>
                <a:schemeClr val="accent2">
                  <a:lumMod val="60000"/>
                </a:schemeClr>
              </a:solidFill>
              <a:round/>
            </a:ln>
            <a:effectLst/>
          </c:spPr>
          <c:marker>
            <c:symbol val="none"/>
          </c:marker>
          <c:cat>
            <c:numRef>
              <c:f>Sheet1!$A$2:$A$33</c:f>
              <c:numCache>
                <c:formatCode>General</c:formatCode>
                <c:ptCount val="32"/>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numCache>
            </c:numRef>
          </c:cat>
          <c:val>
            <c:numRef>
              <c:f>Sheet1!$I$2:$I$33</c:f>
              <c:numCache>
                <c:formatCode>0.00</c:formatCode>
                <c:ptCount val="32"/>
                <c:pt idx="0">
                  <c:v>1</c:v>
                </c:pt>
                <c:pt idx="1">
                  <c:v>1.0140277405378719</c:v>
                </c:pt>
                <c:pt idx="2">
                  <c:v>1.0288470950745436</c:v>
                </c:pt>
                <c:pt idx="3">
                  <c:v>1.0481692862280445</c:v>
                </c:pt>
                <c:pt idx="4">
                  <c:v>1.0676021331018075</c:v>
                </c:pt>
                <c:pt idx="5">
                  <c:v>1.0844473385171283</c:v>
                </c:pt>
                <c:pt idx="6">
                  <c:v>1.101956478254023</c:v>
                </c:pt>
                <c:pt idx="7">
                  <c:v>1.1177887582300192</c:v>
                </c:pt>
                <c:pt idx="8">
                  <c:v>1.1348935789890324</c:v>
                </c:pt>
                <c:pt idx="9">
                  <c:v>1.1485425364844677</c:v>
                </c:pt>
                <c:pt idx="10">
                  <c:v>1.1574801138902722</c:v>
                </c:pt>
                <c:pt idx="11">
                  <c:v>1.161204104476024</c:v>
                </c:pt>
                <c:pt idx="12">
                  <c:v>1.1653281580504165</c:v>
                </c:pt>
                <c:pt idx="13">
                  <c:v>1.1693245319475833</c:v>
                </c:pt>
                <c:pt idx="14">
                  <c:v>1.1802879602320366</c:v>
                </c:pt>
                <c:pt idx="15">
                  <c:v>1.1922855939020187</c:v>
                </c:pt>
                <c:pt idx="16">
                  <c:v>1.1997931589228943</c:v>
                </c:pt>
                <c:pt idx="17">
                  <c:v>1.2096500300047242</c:v>
                </c:pt>
                <c:pt idx="18">
                  <c:v>1.2205113145473969</c:v>
                </c:pt>
                <c:pt idx="19">
                  <c:v>1.22884879747024</c:v>
                </c:pt>
                <c:pt idx="20">
                  <c:v>1.2762307256887255</c:v>
                </c:pt>
                <c:pt idx="21">
                  <c:v>1.2872537378225508</c:v>
                </c:pt>
                <c:pt idx="22">
                  <c:v>1.2904329617854726</c:v>
                </c:pt>
                <c:pt idx="23">
                  <c:v>1.2893647084860169</c:v>
                </c:pt>
                <c:pt idx="24">
                  <c:v>1.2866068274579401</c:v>
                </c:pt>
                <c:pt idx="25">
                  <c:v>1.2854449423951857</c:v>
                </c:pt>
                <c:pt idx="26">
                  <c:v>1.2781714567825573</c:v>
                </c:pt>
                <c:pt idx="27">
                  <c:v>1.2776820180198585</c:v>
                </c:pt>
                <c:pt idx="28">
                  <c:v>1.2741112430467776</c:v>
                </c:pt>
                <c:pt idx="29">
                  <c:v>1.2692764392691616</c:v>
                </c:pt>
                <c:pt idx="30">
                  <c:v>1.1711290713857074</c:v>
                </c:pt>
                <c:pt idx="31">
                  <c:v>1.1743040393593884</c:v>
                </c:pt>
              </c:numCache>
            </c:numRef>
          </c:val>
          <c:smooth val="0"/>
          <c:extLst>
            <c:ext xmlns:c16="http://schemas.microsoft.com/office/drawing/2014/chart" uri="{C3380CC4-5D6E-409C-BE32-E72D297353CC}">
              <c16:uniqueId val="{00000004-2234-4E8D-B3C9-A4E68DBF4A83}"/>
            </c:ext>
          </c:extLst>
        </c:ser>
        <c:ser>
          <c:idx val="8"/>
          <c:order val="8"/>
          <c:tx>
            <c:strRef>
              <c:f>Sheet1!$J$1</c:f>
              <c:strCache>
                <c:ptCount val="1"/>
                <c:pt idx="0">
                  <c:v>Cape Fear</c:v>
                </c:pt>
              </c:strCache>
            </c:strRef>
          </c:tx>
          <c:spPr>
            <a:ln w="28575" cap="rnd">
              <a:solidFill>
                <a:schemeClr val="accent3">
                  <a:lumMod val="60000"/>
                </a:schemeClr>
              </a:solidFill>
              <a:round/>
            </a:ln>
            <a:effectLst/>
          </c:spPr>
          <c:marker>
            <c:symbol val="none"/>
          </c:marker>
          <c:cat>
            <c:numRef>
              <c:f>Sheet1!$A$2:$A$33</c:f>
              <c:numCache>
                <c:formatCode>General</c:formatCode>
                <c:ptCount val="32"/>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numCache>
            </c:numRef>
          </c:cat>
          <c:val>
            <c:numRef>
              <c:f>Sheet1!$J$2:$J$33</c:f>
              <c:numCache>
                <c:formatCode>0.00</c:formatCode>
                <c:ptCount val="32"/>
                <c:pt idx="0">
                  <c:v>1</c:v>
                </c:pt>
                <c:pt idx="1">
                  <c:v>1.0327899051303306</c:v>
                </c:pt>
                <c:pt idx="2">
                  <c:v>1.059604903268178</c:v>
                </c:pt>
                <c:pt idx="3">
                  <c:v>1.094865664708403</c:v>
                </c:pt>
                <c:pt idx="4">
                  <c:v>1.1303947363151803</c:v>
                </c:pt>
                <c:pt idx="5">
                  <c:v>1.1691435299205881</c:v>
                </c:pt>
                <c:pt idx="6">
                  <c:v>1.2077081105758256</c:v>
                </c:pt>
                <c:pt idx="7">
                  <c:v>1.2444625987641713</c:v>
                </c:pt>
                <c:pt idx="8">
                  <c:v>1.2785660223218041</c:v>
                </c:pt>
                <c:pt idx="9">
                  <c:v>1.3023094697470277</c:v>
                </c:pt>
                <c:pt idx="10">
                  <c:v>1.3237142136309574</c:v>
                </c:pt>
                <c:pt idx="11">
                  <c:v>1.3464524990889468</c:v>
                </c:pt>
                <c:pt idx="12">
                  <c:v>1.3721902519312326</c:v>
                </c:pt>
                <c:pt idx="13">
                  <c:v>1.395653375301849</c:v>
                </c:pt>
                <c:pt idx="14">
                  <c:v>1.4343461040963355</c:v>
                </c:pt>
                <c:pt idx="15">
                  <c:v>1.4828421655433681</c:v>
                </c:pt>
                <c:pt idx="16">
                  <c:v>1.5352667683842522</c:v>
                </c:pt>
                <c:pt idx="17">
                  <c:v>1.5760899599937528</c:v>
                </c:pt>
                <c:pt idx="18">
                  <c:v>1.6113587306926807</c:v>
                </c:pt>
                <c:pt idx="19">
                  <c:v>1.6394912518871816</c:v>
                </c:pt>
                <c:pt idx="20">
                  <c:v>1.6889924753014485</c:v>
                </c:pt>
                <c:pt idx="21">
                  <c:v>1.710100876613365</c:v>
                </c:pt>
                <c:pt idx="22">
                  <c:v>1.7312252964426877</c:v>
                </c:pt>
                <c:pt idx="23">
                  <c:v>1.7608435351266063</c:v>
                </c:pt>
                <c:pt idx="24">
                  <c:v>1.790273556231003</c:v>
                </c:pt>
                <c:pt idx="25">
                  <c:v>1.8250457528903412</c:v>
                </c:pt>
                <c:pt idx="26">
                  <c:v>1.8668620925790214</c:v>
                </c:pt>
                <c:pt idx="27">
                  <c:v>1.9076172054895459</c:v>
                </c:pt>
                <c:pt idx="28">
                  <c:v>1.9501423645734468</c:v>
                </c:pt>
                <c:pt idx="29">
                  <c:v>1.9857395148792003</c:v>
                </c:pt>
                <c:pt idx="30">
                  <c:v>1.9030479233994497</c:v>
                </c:pt>
                <c:pt idx="31">
                  <c:v>1.9468105129529736</c:v>
                </c:pt>
              </c:numCache>
            </c:numRef>
          </c:val>
          <c:smooth val="0"/>
          <c:extLst>
            <c:ext xmlns:c16="http://schemas.microsoft.com/office/drawing/2014/chart" uri="{C3380CC4-5D6E-409C-BE32-E72D297353CC}">
              <c16:uniqueId val="{00000005-2234-4E8D-B3C9-A4E68DBF4A83}"/>
            </c:ext>
          </c:extLst>
        </c:ser>
        <c:ser>
          <c:idx val="9"/>
          <c:order val="9"/>
          <c:tx>
            <c:strRef>
              <c:f>Sheet1!$K$1</c:f>
              <c:strCache>
                <c:ptCount val="1"/>
                <c:pt idx="0">
                  <c:v>Land-of-Sky Regional Council</c:v>
                </c:pt>
              </c:strCache>
            </c:strRef>
          </c:tx>
          <c:spPr>
            <a:ln w="28575" cap="rnd">
              <a:solidFill>
                <a:schemeClr val="accent4">
                  <a:lumMod val="60000"/>
                </a:schemeClr>
              </a:solidFill>
              <a:round/>
            </a:ln>
            <a:effectLst/>
          </c:spPr>
          <c:marker>
            <c:symbol val="none"/>
          </c:marker>
          <c:cat>
            <c:numRef>
              <c:f>Sheet1!$A$2:$A$33</c:f>
              <c:numCache>
                <c:formatCode>General</c:formatCode>
                <c:ptCount val="32"/>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numCache>
            </c:numRef>
          </c:cat>
          <c:val>
            <c:numRef>
              <c:f>Sheet1!$K$2:$K$33</c:f>
              <c:numCache>
                <c:formatCode>0.00</c:formatCode>
                <c:ptCount val="32"/>
                <c:pt idx="0">
                  <c:v>1</c:v>
                </c:pt>
                <c:pt idx="1">
                  <c:v>1.0234491951552287</c:v>
                </c:pt>
                <c:pt idx="2">
                  <c:v>1.0428052495489868</c:v>
                </c:pt>
                <c:pt idx="3">
                  <c:v>1.0664010021739359</c:v>
                </c:pt>
                <c:pt idx="4">
                  <c:v>1.089605934879631</c:v>
                </c:pt>
                <c:pt idx="5">
                  <c:v>1.1114988292849741</c:v>
                </c:pt>
                <c:pt idx="6">
                  <c:v>1.1317865704505246</c:v>
                </c:pt>
                <c:pt idx="7">
                  <c:v>1.1512926717775676</c:v>
                </c:pt>
                <c:pt idx="8">
                  <c:v>1.171643223287284</c:v>
                </c:pt>
                <c:pt idx="9">
                  <c:v>1.1889195573964415</c:v>
                </c:pt>
                <c:pt idx="10">
                  <c:v>1.2064645802000857</c:v>
                </c:pt>
                <c:pt idx="11">
                  <c:v>1.2161478415923119</c:v>
                </c:pt>
                <c:pt idx="12">
                  <c:v>1.2291844774702785</c:v>
                </c:pt>
                <c:pt idx="13">
                  <c:v>1.2417535252305663</c:v>
                </c:pt>
                <c:pt idx="14">
                  <c:v>1.2555822693377348</c:v>
                </c:pt>
                <c:pt idx="15">
                  <c:v>1.271518649438022</c:v>
                </c:pt>
                <c:pt idx="16">
                  <c:v>1.2958681261929603</c:v>
                </c:pt>
                <c:pt idx="17">
                  <c:v>1.3174434794139096</c:v>
                </c:pt>
                <c:pt idx="18">
                  <c:v>1.3337497426520621</c:v>
                </c:pt>
                <c:pt idx="19">
                  <c:v>1.3456732396528681</c:v>
                </c:pt>
                <c:pt idx="20">
                  <c:v>1.3940092889520095</c:v>
                </c:pt>
                <c:pt idx="21">
                  <c:v>1.4034413089675724</c:v>
                </c:pt>
                <c:pt idx="22">
                  <c:v>1.4137212686293736</c:v>
                </c:pt>
                <c:pt idx="23">
                  <c:v>1.4294936439421169</c:v>
                </c:pt>
                <c:pt idx="24">
                  <c:v>1.4428268842230885</c:v>
                </c:pt>
                <c:pt idx="25">
                  <c:v>1.4589586742830025</c:v>
                </c:pt>
                <c:pt idx="26">
                  <c:v>1.477082948038398</c:v>
                </c:pt>
                <c:pt idx="27">
                  <c:v>1.4921539411746232</c:v>
                </c:pt>
                <c:pt idx="28">
                  <c:v>1.5060420061623927</c:v>
                </c:pt>
                <c:pt idx="29">
                  <c:v>1.5170373058549709</c:v>
                </c:pt>
                <c:pt idx="30">
                  <c:v>1.5365224704006253</c:v>
                </c:pt>
                <c:pt idx="31">
                  <c:v>1.5459370430983645</c:v>
                </c:pt>
              </c:numCache>
            </c:numRef>
          </c:val>
          <c:smooth val="0"/>
          <c:extLst>
            <c:ext xmlns:c16="http://schemas.microsoft.com/office/drawing/2014/chart" uri="{C3380CC4-5D6E-409C-BE32-E72D297353CC}">
              <c16:uniqueId val="{00000006-2234-4E8D-B3C9-A4E68DBF4A83}"/>
            </c:ext>
          </c:extLst>
        </c:ser>
        <c:ser>
          <c:idx val="10"/>
          <c:order val="10"/>
          <c:tx>
            <c:strRef>
              <c:f>Sheet1!$L$1</c:f>
              <c:strCache>
                <c:ptCount val="1"/>
                <c:pt idx="0">
                  <c:v>Albemarle Commission</c:v>
                </c:pt>
              </c:strCache>
            </c:strRef>
          </c:tx>
          <c:spPr>
            <a:ln w="28575" cap="rnd">
              <a:solidFill>
                <a:schemeClr val="accent5">
                  <a:lumMod val="60000"/>
                </a:schemeClr>
              </a:solidFill>
              <a:round/>
            </a:ln>
            <a:effectLst/>
          </c:spPr>
          <c:marker>
            <c:symbol val="none"/>
          </c:marker>
          <c:cat>
            <c:numRef>
              <c:f>Sheet1!$A$2:$A$33</c:f>
              <c:numCache>
                <c:formatCode>General</c:formatCode>
                <c:ptCount val="32"/>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numCache>
            </c:numRef>
          </c:cat>
          <c:val>
            <c:numRef>
              <c:f>Sheet1!$L$2:$L$33</c:f>
              <c:numCache>
                <c:formatCode>0.00</c:formatCode>
                <c:ptCount val="32"/>
                <c:pt idx="0">
                  <c:v>1</c:v>
                </c:pt>
                <c:pt idx="1">
                  <c:v>1.0119195735987589</c:v>
                </c:pt>
                <c:pt idx="2">
                  <c:v>1.0291154017479993</c:v>
                </c:pt>
                <c:pt idx="3">
                  <c:v>1.0458427415019278</c:v>
                </c:pt>
                <c:pt idx="4">
                  <c:v>1.0615716633642074</c:v>
                </c:pt>
                <c:pt idx="5">
                  <c:v>1.074251570588145</c:v>
                </c:pt>
                <c:pt idx="6">
                  <c:v>1.0924304563537779</c:v>
                </c:pt>
                <c:pt idx="7">
                  <c:v>1.1129748245088551</c:v>
                </c:pt>
                <c:pt idx="8">
                  <c:v>1.1339646406463604</c:v>
                </c:pt>
                <c:pt idx="9">
                  <c:v>1.1444633887839271</c:v>
                </c:pt>
                <c:pt idx="10">
                  <c:v>1.1536872340752347</c:v>
                </c:pt>
                <c:pt idx="11">
                  <c:v>1.1623965101454619</c:v>
                </c:pt>
                <c:pt idx="12">
                  <c:v>1.1835706495860405</c:v>
                </c:pt>
                <c:pt idx="13">
                  <c:v>1.2059198500837136</c:v>
                </c:pt>
                <c:pt idx="14">
                  <c:v>1.2292367479225228</c:v>
                </c:pt>
                <c:pt idx="15">
                  <c:v>1.2571002872371473</c:v>
                </c:pt>
                <c:pt idx="16">
                  <c:v>1.2804479056264688</c:v>
                </c:pt>
                <c:pt idx="17">
                  <c:v>1.3006082669001429</c:v>
                </c:pt>
                <c:pt idx="18">
                  <c:v>1.3122052747185229</c:v>
                </c:pt>
                <c:pt idx="19">
                  <c:v>1.3144555550435464</c:v>
                </c:pt>
                <c:pt idx="20">
                  <c:v>1.321129594642336</c:v>
                </c:pt>
                <c:pt idx="21">
                  <c:v>1.3189791561064774</c:v>
                </c:pt>
                <c:pt idx="22">
                  <c:v>1.3166367141299171</c:v>
                </c:pt>
                <c:pt idx="23">
                  <c:v>1.3145246762821989</c:v>
                </c:pt>
                <c:pt idx="24">
                  <c:v>1.3155845352748721</c:v>
                </c:pt>
                <c:pt idx="25">
                  <c:v>1.315561494861988</c:v>
                </c:pt>
                <c:pt idx="26">
                  <c:v>1.3206611062470239</c:v>
                </c:pt>
                <c:pt idx="27">
                  <c:v>1.3267668156613366</c:v>
                </c:pt>
                <c:pt idx="28">
                  <c:v>1.3348155998955502</c:v>
                </c:pt>
                <c:pt idx="29">
                  <c:v>1.3437475999569912</c:v>
                </c:pt>
                <c:pt idx="30">
                  <c:v>1.3231341105632612</c:v>
                </c:pt>
                <c:pt idx="31">
                  <c:v>1.344077845874998</c:v>
                </c:pt>
              </c:numCache>
            </c:numRef>
          </c:val>
          <c:smooth val="0"/>
          <c:extLst>
            <c:ext xmlns:c16="http://schemas.microsoft.com/office/drawing/2014/chart" uri="{C3380CC4-5D6E-409C-BE32-E72D297353CC}">
              <c16:uniqueId val="{00000007-2234-4E8D-B3C9-A4E68DBF4A83}"/>
            </c:ext>
          </c:extLst>
        </c:ser>
        <c:ser>
          <c:idx val="11"/>
          <c:order val="11"/>
          <c:tx>
            <c:strRef>
              <c:f>Sheet1!$M$1</c:f>
              <c:strCache>
                <c:ptCount val="1"/>
                <c:pt idx="0">
                  <c:v>Eastern Carolina</c:v>
                </c:pt>
              </c:strCache>
            </c:strRef>
          </c:tx>
          <c:spPr>
            <a:ln w="28575" cap="rnd">
              <a:solidFill>
                <a:schemeClr val="accent6">
                  <a:lumMod val="60000"/>
                </a:schemeClr>
              </a:solidFill>
              <a:round/>
            </a:ln>
            <a:effectLst/>
          </c:spPr>
          <c:marker>
            <c:symbol val="none"/>
          </c:marker>
          <c:cat>
            <c:numRef>
              <c:f>Sheet1!$A$2:$A$33</c:f>
              <c:numCache>
                <c:formatCode>General</c:formatCode>
                <c:ptCount val="32"/>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numCache>
            </c:numRef>
          </c:cat>
          <c:val>
            <c:numRef>
              <c:f>Sheet1!$M$2:$M$33</c:f>
              <c:numCache>
                <c:formatCode>0.00</c:formatCode>
                <c:ptCount val="32"/>
                <c:pt idx="0">
                  <c:v>1</c:v>
                </c:pt>
                <c:pt idx="1">
                  <c:v>1.0143323660949426</c:v>
                </c:pt>
                <c:pt idx="2">
                  <c:v>1.0144894226257171</c:v>
                </c:pt>
                <c:pt idx="3">
                  <c:v>1.0244950728301778</c:v>
                </c:pt>
                <c:pt idx="4">
                  <c:v>1.0302295515269917</c:v>
                </c:pt>
                <c:pt idx="5">
                  <c:v>1.0452629260397812</c:v>
                </c:pt>
                <c:pt idx="6">
                  <c:v>1.0586242230968868</c:v>
                </c:pt>
                <c:pt idx="7">
                  <c:v>1.065607492745712</c:v>
                </c:pt>
                <c:pt idx="8">
                  <c:v>1.0764156635159594</c:v>
                </c:pt>
                <c:pt idx="9">
                  <c:v>1.078685321918005</c:v>
                </c:pt>
                <c:pt idx="10">
                  <c:v>1.0838892559925686</c:v>
                </c:pt>
                <c:pt idx="11">
                  <c:v>1.085132300973942</c:v>
                </c:pt>
                <c:pt idx="12">
                  <c:v>1.0867488340467915</c:v>
                </c:pt>
                <c:pt idx="13">
                  <c:v>1.0813188917937964</c:v>
                </c:pt>
                <c:pt idx="14">
                  <c:v>1.0999511592495763</c:v>
                </c:pt>
                <c:pt idx="15">
                  <c:v>1.0971528715488263</c:v>
                </c:pt>
                <c:pt idx="16">
                  <c:v>1.1080165867019087</c:v>
                </c:pt>
                <c:pt idx="17">
                  <c:v>1.1134369523371737</c:v>
                </c:pt>
                <c:pt idx="18">
                  <c:v>1.1276160925484338</c:v>
                </c:pt>
                <c:pt idx="19">
                  <c:v>1.1372501699849646</c:v>
                </c:pt>
                <c:pt idx="20">
                  <c:v>1.2321525363672059</c:v>
                </c:pt>
                <c:pt idx="21">
                  <c:v>1.2348569732142003</c:v>
                </c:pt>
                <c:pt idx="22">
                  <c:v>1.2472012334683635</c:v>
                </c:pt>
                <c:pt idx="23">
                  <c:v>1.2479711935338678</c:v>
                </c:pt>
                <c:pt idx="24">
                  <c:v>1.245944781222168</c:v>
                </c:pt>
                <c:pt idx="25">
                  <c:v>1.2437210905852272</c:v>
                </c:pt>
                <c:pt idx="26">
                  <c:v>1.2410702827975215</c:v>
                </c:pt>
                <c:pt idx="27">
                  <c:v>1.241612319361048</c:v>
                </c:pt>
                <c:pt idx="28">
                  <c:v>1.2454602043650225</c:v>
                </c:pt>
                <c:pt idx="29">
                  <c:v>1.2460807691939362</c:v>
                </c:pt>
                <c:pt idx="30">
                  <c:v>1.2176075693586539</c:v>
                </c:pt>
                <c:pt idx="31">
                  <c:v>1.2209172484461939</c:v>
                </c:pt>
              </c:numCache>
            </c:numRef>
          </c:val>
          <c:smooth val="0"/>
          <c:extLst>
            <c:ext xmlns:c16="http://schemas.microsoft.com/office/drawing/2014/chart" uri="{C3380CC4-5D6E-409C-BE32-E72D297353CC}">
              <c16:uniqueId val="{00000008-2234-4E8D-B3C9-A4E68DBF4A83}"/>
            </c:ext>
          </c:extLst>
        </c:ser>
        <c:ser>
          <c:idx val="12"/>
          <c:order val="12"/>
          <c:tx>
            <c:strRef>
              <c:f>Sheet1!$N$1</c:f>
              <c:strCache>
                <c:ptCount val="1"/>
                <c:pt idx="0">
                  <c:v>Triangle J</c:v>
                </c:pt>
              </c:strCache>
            </c:strRef>
          </c:tx>
          <c:spPr>
            <a:ln w="28575" cap="rnd">
              <a:solidFill>
                <a:schemeClr val="accent1">
                  <a:lumMod val="80000"/>
                  <a:lumOff val="20000"/>
                </a:schemeClr>
              </a:solidFill>
              <a:round/>
            </a:ln>
            <a:effectLst/>
          </c:spPr>
          <c:marker>
            <c:symbol val="none"/>
          </c:marker>
          <c:cat>
            <c:numRef>
              <c:f>Sheet1!$A$2:$A$33</c:f>
              <c:numCache>
                <c:formatCode>General</c:formatCode>
                <c:ptCount val="32"/>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numCache>
            </c:numRef>
          </c:cat>
          <c:val>
            <c:numRef>
              <c:f>Sheet1!$N$2:$N$33</c:f>
              <c:numCache>
                <c:formatCode>0.00</c:formatCode>
                <c:ptCount val="32"/>
                <c:pt idx="0">
                  <c:v>1</c:v>
                </c:pt>
                <c:pt idx="1">
                  <c:v>1.0373745761388964</c:v>
                </c:pt>
                <c:pt idx="2">
                  <c:v>1.0699045607888369</c:v>
                </c:pt>
                <c:pt idx="3">
                  <c:v>1.1070070419481568</c:v>
                </c:pt>
                <c:pt idx="4">
                  <c:v>1.1450743220390429</c:v>
                </c:pt>
                <c:pt idx="5">
                  <c:v>1.1850115775871788</c:v>
                </c:pt>
                <c:pt idx="6">
                  <c:v>1.2246409647122081</c:v>
                </c:pt>
                <c:pt idx="7">
                  <c:v>1.2648850046397073</c:v>
                </c:pt>
                <c:pt idx="8">
                  <c:v>1.3050303965865631</c:v>
                </c:pt>
                <c:pt idx="9">
                  <c:v>1.3421859958893061</c:v>
                </c:pt>
                <c:pt idx="10">
                  <c:v>1.3789188181321492</c:v>
                </c:pt>
                <c:pt idx="11">
                  <c:v>1.4242437710846507</c:v>
                </c:pt>
                <c:pt idx="12">
                  <c:v>1.4613289075440772</c:v>
                </c:pt>
                <c:pt idx="13">
                  <c:v>1.4953602927785341</c:v>
                </c:pt>
                <c:pt idx="14">
                  <c:v>1.5316356485616907</c:v>
                </c:pt>
                <c:pt idx="15">
                  <c:v>1.5793996999366919</c:v>
                </c:pt>
                <c:pt idx="16">
                  <c:v>1.6418146025028402</c:v>
                </c:pt>
                <c:pt idx="17">
                  <c:v>1.705610576797995</c:v>
                </c:pt>
                <c:pt idx="18">
                  <c:v>1.7668113503716103</c:v>
                </c:pt>
                <c:pt idx="19">
                  <c:v>1.8160421129313411</c:v>
                </c:pt>
                <c:pt idx="20">
                  <c:v>1.8344209905558109</c:v>
                </c:pt>
                <c:pt idx="21">
                  <c:v>1.8694583683840811</c:v>
                </c:pt>
                <c:pt idx="22">
                  <c:v>1.9088676946292136</c:v>
                </c:pt>
                <c:pt idx="23">
                  <c:v>1.9468515033518632</c:v>
                </c:pt>
                <c:pt idx="24">
                  <c:v>1.9868809026181824</c:v>
                </c:pt>
                <c:pt idx="25">
                  <c:v>2.0284203748189649</c:v>
                </c:pt>
                <c:pt idx="26">
                  <c:v>2.0753984944800492</c:v>
                </c:pt>
                <c:pt idx="27">
                  <c:v>2.1169412188120615</c:v>
                </c:pt>
                <c:pt idx="28">
                  <c:v>2.1594845155191704</c:v>
                </c:pt>
                <c:pt idx="29">
                  <c:v>2.1986499319220529</c:v>
                </c:pt>
                <c:pt idx="30">
                  <c:v>2.239336261696832</c:v>
                </c:pt>
                <c:pt idx="31">
                  <c:v>2.2727063802478558</c:v>
                </c:pt>
              </c:numCache>
            </c:numRef>
          </c:val>
          <c:smooth val="0"/>
          <c:extLst>
            <c:ext xmlns:c16="http://schemas.microsoft.com/office/drawing/2014/chart" uri="{C3380CC4-5D6E-409C-BE32-E72D297353CC}">
              <c16:uniqueId val="{00000009-2234-4E8D-B3C9-A4E68DBF4A83}"/>
            </c:ext>
          </c:extLst>
        </c:ser>
        <c:ser>
          <c:idx val="13"/>
          <c:order val="13"/>
          <c:tx>
            <c:strRef>
              <c:f>Sheet1!$O$1</c:f>
              <c:strCache>
                <c:ptCount val="1"/>
                <c:pt idx="0">
                  <c:v>Southwestern Commission</c:v>
                </c:pt>
              </c:strCache>
            </c:strRef>
          </c:tx>
          <c:spPr>
            <a:ln w="28575" cap="rnd">
              <a:solidFill>
                <a:schemeClr val="accent2">
                  <a:lumMod val="80000"/>
                  <a:lumOff val="20000"/>
                </a:schemeClr>
              </a:solidFill>
              <a:round/>
            </a:ln>
            <a:effectLst/>
          </c:spPr>
          <c:marker>
            <c:symbol val="none"/>
          </c:marker>
          <c:cat>
            <c:numRef>
              <c:f>Sheet1!$A$2:$A$33</c:f>
              <c:numCache>
                <c:formatCode>General</c:formatCode>
                <c:ptCount val="32"/>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numCache>
            </c:numRef>
          </c:cat>
          <c:val>
            <c:numRef>
              <c:f>Sheet1!$O$2:$O$33</c:f>
              <c:numCache>
                <c:formatCode>0.00</c:formatCode>
                <c:ptCount val="32"/>
                <c:pt idx="0">
                  <c:v>1</c:v>
                </c:pt>
                <c:pt idx="1">
                  <c:v>1.0178087170454864</c:v>
                </c:pt>
                <c:pt idx="2">
                  <c:v>1.0336604322178422</c:v>
                </c:pt>
                <c:pt idx="3">
                  <c:v>1.0510008666722581</c:v>
                </c:pt>
                <c:pt idx="4">
                  <c:v>1.0710741144566525</c:v>
                </c:pt>
                <c:pt idx="5">
                  <c:v>1.094229640191227</c:v>
                </c:pt>
                <c:pt idx="6">
                  <c:v>1.1171964550308926</c:v>
                </c:pt>
                <c:pt idx="7">
                  <c:v>1.1397089658642958</c:v>
                </c:pt>
                <c:pt idx="8">
                  <c:v>1.1588666163437613</c:v>
                </c:pt>
                <c:pt idx="9">
                  <c:v>1.178443624367469</c:v>
                </c:pt>
                <c:pt idx="10">
                  <c:v>1.1980346109759847</c:v>
                </c:pt>
                <c:pt idx="11">
                  <c:v>1.208658335430121</c:v>
                </c:pt>
                <c:pt idx="12">
                  <c:v>1.2199250747854287</c:v>
                </c:pt>
                <c:pt idx="13">
                  <c:v>1.2334912913416645</c:v>
                </c:pt>
                <c:pt idx="14">
                  <c:v>1.2463166429030725</c:v>
                </c:pt>
                <c:pt idx="15">
                  <c:v>1.2548785260980178</c:v>
                </c:pt>
                <c:pt idx="16">
                  <c:v>1.2748049987419274</c:v>
                </c:pt>
                <c:pt idx="17">
                  <c:v>1.2840937683468925</c:v>
                </c:pt>
                <c:pt idx="18">
                  <c:v>1.2924669406469289</c:v>
                </c:pt>
                <c:pt idx="19">
                  <c:v>1.2961852442058766</c:v>
                </c:pt>
                <c:pt idx="20">
                  <c:v>1.3571458525538875</c:v>
                </c:pt>
                <c:pt idx="21">
                  <c:v>1.3526866840001119</c:v>
                </c:pt>
                <c:pt idx="22">
                  <c:v>1.3526377589532836</c:v>
                </c:pt>
                <c:pt idx="23">
                  <c:v>1.3567544521792614</c:v>
                </c:pt>
                <c:pt idx="24">
                  <c:v>1.358571668204311</c:v>
                </c:pt>
                <c:pt idx="25">
                  <c:v>1.3676647376219631</c:v>
                </c:pt>
                <c:pt idx="26">
                  <c:v>1.3878498140848221</c:v>
                </c:pt>
                <c:pt idx="27">
                  <c:v>1.4017375380916437</c:v>
                </c:pt>
                <c:pt idx="28">
                  <c:v>1.4185957113701808</c:v>
                </c:pt>
                <c:pt idx="29">
                  <c:v>1.4304844977494477</c:v>
                </c:pt>
                <c:pt idx="30">
                  <c:v>1.4283597528586205</c:v>
                </c:pt>
                <c:pt idx="31">
                  <c:v>1.4405281109340491</c:v>
                </c:pt>
              </c:numCache>
            </c:numRef>
          </c:val>
          <c:smooth val="0"/>
          <c:extLst>
            <c:ext xmlns:c16="http://schemas.microsoft.com/office/drawing/2014/chart" uri="{C3380CC4-5D6E-409C-BE32-E72D297353CC}">
              <c16:uniqueId val="{0000000A-2234-4E8D-B3C9-A4E68DBF4A83}"/>
            </c:ext>
          </c:extLst>
        </c:ser>
        <c:ser>
          <c:idx val="14"/>
          <c:order val="14"/>
          <c:tx>
            <c:strRef>
              <c:f>Sheet1!$P$1</c:f>
              <c:strCache>
                <c:ptCount val="1"/>
                <c:pt idx="0">
                  <c:v>Isothermal Regional Commission</c:v>
                </c:pt>
              </c:strCache>
            </c:strRef>
          </c:tx>
          <c:spPr>
            <a:ln w="28575" cap="rnd">
              <a:solidFill>
                <a:schemeClr val="accent3">
                  <a:lumMod val="80000"/>
                  <a:lumOff val="20000"/>
                </a:schemeClr>
              </a:solidFill>
              <a:round/>
            </a:ln>
            <a:effectLst/>
          </c:spPr>
          <c:marker>
            <c:symbol val="none"/>
          </c:marker>
          <c:cat>
            <c:numRef>
              <c:f>Sheet1!$A$2:$A$33</c:f>
              <c:numCache>
                <c:formatCode>General</c:formatCode>
                <c:ptCount val="32"/>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numCache>
            </c:numRef>
          </c:cat>
          <c:val>
            <c:numRef>
              <c:f>Sheet1!$P$2:$P$33</c:f>
              <c:numCache>
                <c:formatCode>0.00</c:formatCode>
                <c:ptCount val="32"/>
                <c:pt idx="0">
                  <c:v>1</c:v>
                </c:pt>
                <c:pt idx="1">
                  <c:v>1.0151052053339442</c:v>
                </c:pt>
                <c:pt idx="2">
                  <c:v>1.0282526177669706</c:v>
                </c:pt>
                <c:pt idx="3">
                  <c:v>1.0409105819747675</c:v>
                </c:pt>
                <c:pt idx="4">
                  <c:v>1.0532196841496879</c:v>
                </c:pt>
                <c:pt idx="5">
                  <c:v>1.0703087168646155</c:v>
                </c:pt>
                <c:pt idx="6">
                  <c:v>1.0877205771323541</c:v>
                </c:pt>
                <c:pt idx="7">
                  <c:v>1.1047002650310072</c:v>
                </c:pt>
                <c:pt idx="8">
                  <c:v>1.1197586083008335</c:v>
                </c:pt>
                <c:pt idx="9">
                  <c:v>1.1335516758394819</c:v>
                </c:pt>
                <c:pt idx="10">
                  <c:v>1.145454640125382</c:v>
                </c:pt>
                <c:pt idx="11">
                  <c:v>1.1527963635038245</c:v>
                </c:pt>
                <c:pt idx="12">
                  <c:v>1.1543532254117352</c:v>
                </c:pt>
                <c:pt idx="13">
                  <c:v>1.1574669492275569</c:v>
                </c:pt>
                <c:pt idx="14">
                  <c:v>1.1569098113541574</c:v>
                </c:pt>
                <c:pt idx="15">
                  <c:v>1.1568004665378828</c:v>
                </c:pt>
                <c:pt idx="16">
                  <c:v>1.1615387419097853</c:v>
                </c:pt>
                <c:pt idx="17">
                  <c:v>1.167063258579663</c:v>
                </c:pt>
                <c:pt idx="18">
                  <c:v>1.1753526370324858</c:v>
                </c:pt>
                <c:pt idx="19">
                  <c:v>1.1759722576580423</c:v>
                </c:pt>
                <c:pt idx="20">
                  <c:v>1.2040113926884766</c:v>
                </c:pt>
                <c:pt idx="21">
                  <c:v>1.198622255314939</c:v>
                </c:pt>
                <c:pt idx="22">
                  <c:v>1.1964405658854587</c:v>
                </c:pt>
                <c:pt idx="23">
                  <c:v>1.1930508765809438</c:v>
                </c:pt>
                <c:pt idx="24">
                  <c:v>1.1920876008185242</c:v>
                </c:pt>
                <c:pt idx="25">
                  <c:v>1.1903276699661032</c:v>
                </c:pt>
                <c:pt idx="26">
                  <c:v>1.1899111182850568</c:v>
                </c:pt>
                <c:pt idx="27">
                  <c:v>1.1939933247593113</c:v>
                </c:pt>
                <c:pt idx="28">
                  <c:v>1.1998094276059212</c:v>
                </c:pt>
                <c:pt idx="29">
                  <c:v>1.2051673236033804</c:v>
                </c:pt>
                <c:pt idx="30">
                  <c:v>1.1874534633668832</c:v>
                </c:pt>
                <c:pt idx="31">
                  <c:v>1.1940349799274159</c:v>
                </c:pt>
              </c:numCache>
            </c:numRef>
          </c:val>
          <c:smooth val="0"/>
          <c:extLst>
            <c:ext xmlns:c16="http://schemas.microsoft.com/office/drawing/2014/chart" uri="{C3380CC4-5D6E-409C-BE32-E72D297353CC}">
              <c16:uniqueId val="{0000000B-2234-4E8D-B3C9-A4E68DBF4A83}"/>
            </c:ext>
          </c:extLst>
        </c:ser>
        <c:ser>
          <c:idx val="15"/>
          <c:order val="15"/>
          <c:tx>
            <c:strRef>
              <c:f>Sheet1!$Q$1</c:f>
              <c:strCache>
                <c:ptCount val="1"/>
                <c:pt idx="0">
                  <c:v>Mid-Carolina</c:v>
                </c:pt>
              </c:strCache>
            </c:strRef>
          </c:tx>
          <c:spPr>
            <a:ln w="28575" cap="rnd">
              <a:solidFill>
                <a:schemeClr val="accent4">
                  <a:lumMod val="80000"/>
                  <a:lumOff val="20000"/>
                </a:schemeClr>
              </a:solidFill>
              <a:round/>
            </a:ln>
            <a:effectLst/>
          </c:spPr>
          <c:marker>
            <c:symbol val="none"/>
          </c:marker>
          <c:cat>
            <c:numRef>
              <c:f>Sheet1!$A$2:$A$33</c:f>
              <c:numCache>
                <c:formatCode>General</c:formatCode>
                <c:ptCount val="32"/>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numCache>
            </c:numRef>
          </c:cat>
          <c:val>
            <c:numRef>
              <c:f>Sheet1!$Q$2:$Q$33</c:f>
              <c:numCache>
                <c:formatCode>0.00</c:formatCode>
                <c:ptCount val="32"/>
                <c:pt idx="0">
                  <c:v>1</c:v>
                </c:pt>
                <c:pt idx="1">
                  <c:v>1.019451420187101</c:v>
                </c:pt>
                <c:pt idx="2">
                  <c:v>1.0320667550783265</c:v>
                </c:pt>
                <c:pt idx="3">
                  <c:v>1.0633075366237177</c:v>
                </c:pt>
                <c:pt idx="4">
                  <c:v>1.0762281226032018</c:v>
                </c:pt>
                <c:pt idx="5">
                  <c:v>1.0932503597602112</c:v>
                </c:pt>
                <c:pt idx="6">
                  <c:v>1.1080332338915924</c:v>
                </c:pt>
                <c:pt idx="7">
                  <c:v>1.1289596068160772</c:v>
                </c:pt>
                <c:pt idx="8">
                  <c:v>1.1389995459710704</c:v>
                </c:pt>
                <c:pt idx="9">
                  <c:v>1.1544647460644413</c:v>
                </c:pt>
                <c:pt idx="10">
                  <c:v>1.1682805642271377</c:v>
                </c:pt>
                <c:pt idx="11">
                  <c:v>1.1742419384213645</c:v>
                </c:pt>
                <c:pt idx="12">
                  <c:v>1.1843229197394849</c:v>
                </c:pt>
                <c:pt idx="13">
                  <c:v>1.1821502502289383</c:v>
                </c:pt>
                <c:pt idx="14">
                  <c:v>1.196281580020675</c:v>
                </c:pt>
                <c:pt idx="15">
                  <c:v>1.1884810038913101</c:v>
                </c:pt>
                <c:pt idx="16">
                  <c:v>1.2032920945098411</c:v>
                </c:pt>
                <c:pt idx="17">
                  <c:v>1.214907026674841</c:v>
                </c:pt>
                <c:pt idx="18">
                  <c:v>1.2300644105447578</c:v>
                </c:pt>
                <c:pt idx="19">
                  <c:v>1.2500288577709489</c:v>
                </c:pt>
                <c:pt idx="20">
                  <c:v>1.2991948040621482</c:v>
                </c:pt>
                <c:pt idx="21">
                  <c:v>1.3164145566292071</c:v>
                </c:pt>
                <c:pt idx="22">
                  <c:v>1.3233455519273143</c:v>
                </c:pt>
                <c:pt idx="23">
                  <c:v>1.3388030566150988</c:v>
                </c:pt>
                <c:pt idx="24">
                  <c:v>1.3411681112653042</c:v>
                </c:pt>
                <c:pt idx="25">
                  <c:v>1.3410424196407271</c:v>
                </c:pt>
                <c:pt idx="26">
                  <c:v>1.3519955469253007</c:v>
                </c:pt>
                <c:pt idx="27">
                  <c:v>1.3509335809543841</c:v>
                </c:pt>
                <c:pt idx="28">
                  <c:v>1.3623715187908978</c:v>
                </c:pt>
                <c:pt idx="29">
                  <c:v>1.3723883717291321</c:v>
                </c:pt>
                <c:pt idx="30">
                  <c:v>1.3522161485521094</c:v>
                </c:pt>
                <c:pt idx="31">
                  <c:v>1.3607118763194415</c:v>
                </c:pt>
              </c:numCache>
            </c:numRef>
          </c:val>
          <c:smooth val="0"/>
          <c:extLst>
            <c:ext xmlns:c16="http://schemas.microsoft.com/office/drawing/2014/chart" uri="{C3380CC4-5D6E-409C-BE32-E72D297353CC}">
              <c16:uniqueId val="{0000000C-2234-4E8D-B3C9-A4E68DBF4A83}"/>
            </c:ext>
          </c:extLst>
        </c:ser>
        <c:ser>
          <c:idx val="16"/>
          <c:order val="16"/>
          <c:tx>
            <c:strRef>
              <c:f>Sheet1!$R$1</c:f>
              <c:strCache>
                <c:ptCount val="1"/>
                <c:pt idx="0">
                  <c:v>Upper Coastal Plain</c:v>
                </c:pt>
              </c:strCache>
            </c:strRef>
          </c:tx>
          <c:spPr>
            <a:ln w="28575" cap="rnd">
              <a:solidFill>
                <a:schemeClr val="accent5">
                  <a:lumMod val="80000"/>
                  <a:lumOff val="20000"/>
                </a:schemeClr>
              </a:solidFill>
              <a:round/>
            </a:ln>
            <a:effectLst/>
          </c:spPr>
          <c:marker>
            <c:symbol val="none"/>
          </c:marker>
          <c:cat>
            <c:numRef>
              <c:f>Sheet1!$A$2:$A$33</c:f>
              <c:numCache>
                <c:formatCode>General</c:formatCode>
                <c:ptCount val="32"/>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numCache>
            </c:numRef>
          </c:cat>
          <c:val>
            <c:numRef>
              <c:f>Sheet1!$R$2:$R$33</c:f>
              <c:numCache>
                <c:formatCode>0.00</c:formatCode>
                <c:ptCount val="32"/>
                <c:pt idx="0">
                  <c:v>1</c:v>
                </c:pt>
                <c:pt idx="1">
                  <c:v>1.0103207102736003</c:v>
                </c:pt>
                <c:pt idx="2">
                  <c:v>1.0183004167421634</c:v>
                </c:pt>
                <c:pt idx="3">
                  <c:v>1.0279217249501722</c:v>
                </c:pt>
                <c:pt idx="4">
                  <c:v>1.0401848160898715</c:v>
                </c:pt>
                <c:pt idx="5">
                  <c:v>1.0500018119224497</c:v>
                </c:pt>
                <c:pt idx="6">
                  <c:v>1.0567312919007066</c:v>
                </c:pt>
                <c:pt idx="7">
                  <c:v>1.0640115963036783</c:v>
                </c:pt>
                <c:pt idx="8">
                  <c:v>1.0680992933502447</c:v>
                </c:pt>
                <c:pt idx="9">
                  <c:v>1.072368182641783</c:v>
                </c:pt>
                <c:pt idx="10">
                  <c:v>1.0736401522014858</c:v>
                </c:pt>
                <c:pt idx="11">
                  <c:v>1.071922449719152</c:v>
                </c:pt>
                <c:pt idx="12">
                  <c:v>1.0728501540134083</c:v>
                </c:pt>
                <c:pt idx="13">
                  <c:v>1.0725747418010509</c:v>
                </c:pt>
                <c:pt idx="14">
                  <c:v>1.0713788729842362</c:v>
                </c:pt>
                <c:pt idx="15">
                  <c:v>1.0723391918825875</c:v>
                </c:pt>
                <c:pt idx="16">
                  <c:v>1.0741547381772061</c:v>
                </c:pt>
                <c:pt idx="17">
                  <c:v>1.0801920637796703</c:v>
                </c:pt>
                <c:pt idx="18">
                  <c:v>1.0864431962312013</c:v>
                </c:pt>
                <c:pt idx="19">
                  <c:v>1.0859322341003805</c:v>
                </c:pt>
                <c:pt idx="20">
                  <c:v>1.1241456785649575</c:v>
                </c:pt>
                <c:pt idx="21">
                  <c:v>1.11967747780395</c:v>
                </c:pt>
                <c:pt idx="22">
                  <c:v>1.1135169414749049</c:v>
                </c:pt>
                <c:pt idx="23">
                  <c:v>1.1055444826961407</c:v>
                </c:pt>
                <c:pt idx="24">
                  <c:v>1.1000471099836926</c:v>
                </c:pt>
                <c:pt idx="25">
                  <c:v>1.0925312556622577</c:v>
                </c:pt>
                <c:pt idx="26">
                  <c:v>1.0889110346077189</c:v>
                </c:pt>
                <c:pt idx="27">
                  <c:v>1.0850226490306214</c:v>
                </c:pt>
                <c:pt idx="28">
                  <c:v>1.0791882587425259</c:v>
                </c:pt>
                <c:pt idx="29">
                  <c:v>1.0765138612067404</c:v>
                </c:pt>
                <c:pt idx="30">
                  <c:v>1.0453632904511687</c:v>
                </c:pt>
                <c:pt idx="31">
                  <c:v>1.0411487588331219</c:v>
                </c:pt>
              </c:numCache>
            </c:numRef>
          </c:val>
          <c:smooth val="0"/>
          <c:extLst>
            <c:ext xmlns:c16="http://schemas.microsoft.com/office/drawing/2014/chart" uri="{C3380CC4-5D6E-409C-BE32-E72D297353CC}">
              <c16:uniqueId val="{0000000D-2234-4E8D-B3C9-A4E68DBF4A83}"/>
            </c:ext>
          </c:extLst>
        </c:ser>
        <c:ser>
          <c:idx val="17"/>
          <c:order val="17"/>
          <c:tx>
            <c:strRef>
              <c:f>Sheet1!$S$1</c:f>
              <c:strCache>
                <c:ptCount val="1"/>
                <c:pt idx="0">
                  <c:v>Kerr-Tar</c:v>
                </c:pt>
              </c:strCache>
            </c:strRef>
          </c:tx>
          <c:spPr>
            <a:ln w="28575" cap="rnd">
              <a:solidFill>
                <a:schemeClr val="accent6">
                  <a:lumMod val="80000"/>
                  <a:lumOff val="20000"/>
                </a:schemeClr>
              </a:solidFill>
              <a:round/>
            </a:ln>
            <a:effectLst/>
          </c:spPr>
          <c:marker>
            <c:symbol val="none"/>
          </c:marker>
          <c:cat>
            <c:numRef>
              <c:f>Sheet1!$A$2:$A$33</c:f>
              <c:numCache>
                <c:formatCode>General</c:formatCode>
                <c:ptCount val="32"/>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numCache>
            </c:numRef>
          </c:cat>
          <c:val>
            <c:numRef>
              <c:f>Sheet1!$S$2:$S$33</c:f>
              <c:numCache>
                <c:formatCode>0.00</c:formatCode>
                <c:ptCount val="32"/>
                <c:pt idx="0">
                  <c:v>1</c:v>
                </c:pt>
                <c:pt idx="1">
                  <c:v>1.0180766270205845</c:v>
                </c:pt>
                <c:pt idx="2">
                  <c:v>1.0343157947011645</c:v>
                </c:pt>
                <c:pt idx="3">
                  <c:v>1.0538946688848607</c:v>
                </c:pt>
                <c:pt idx="4">
                  <c:v>1.0697241327936831</c:v>
                </c:pt>
                <c:pt idx="5">
                  <c:v>1.0935304049859706</c:v>
                </c:pt>
                <c:pt idx="6">
                  <c:v>1.1155985399647406</c:v>
                </c:pt>
                <c:pt idx="7">
                  <c:v>1.1366920765773596</c:v>
                </c:pt>
                <c:pt idx="8">
                  <c:v>1.1679226777245302</c:v>
                </c:pt>
                <c:pt idx="9">
                  <c:v>1.1885754724008641</c:v>
                </c:pt>
                <c:pt idx="10">
                  <c:v>1.21154371415092</c:v>
                </c:pt>
                <c:pt idx="11">
                  <c:v>1.2309673975119808</c:v>
                </c:pt>
                <c:pt idx="12">
                  <c:v>1.2542149827427804</c:v>
                </c:pt>
                <c:pt idx="13">
                  <c:v>1.2664067737690263</c:v>
                </c:pt>
                <c:pt idx="14">
                  <c:v>1.2745884339383706</c:v>
                </c:pt>
                <c:pt idx="15">
                  <c:v>1.2865753730787377</c:v>
                </c:pt>
                <c:pt idx="16">
                  <c:v>1.2995555334839719</c:v>
                </c:pt>
                <c:pt idx="17">
                  <c:v>1.3245412559282894</c:v>
                </c:pt>
                <c:pt idx="18">
                  <c:v>1.342897226429618</c:v>
                </c:pt>
                <c:pt idx="19">
                  <c:v>1.3543813473046458</c:v>
                </c:pt>
                <c:pt idx="20">
                  <c:v>1.39172025923075</c:v>
                </c:pt>
                <c:pt idx="21">
                  <c:v>1.3920927172050754</c:v>
                </c:pt>
                <c:pt idx="22">
                  <c:v>1.3904725250167607</c:v>
                </c:pt>
                <c:pt idx="23">
                  <c:v>1.3915402378764929</c:v>
                </c:pt>
                <c:pt idx="24">
                  <c:v>1.3948675291137984</c:v>
                </c:pt>
                <c:pt idx="25">
                  <c:v>1.4009758398927321</c:v>
                </c:pt>
                <c:pt idx="26">
                  <c:v>1.4091264618975492</c:v>
                </c:pt>
                <c:pt idx="27">
                  <c:v>1.4215168971767687</c:v>
                </c:pt>
                <c:pt idx="28">
                  <c:v>1.4370297718074143</c:v>
                </c:pt>
                <c:pt idx="29">
                  <c:v>1.4518660144513693</c:v>
                </c:pt>
                <c:pt idx="30">
                  <c:v>1.4300772229533434</c:v>
                </c:pt>
                <c:pt idx="31">
                  <c:v>1.4511148908698135</c:v>
                </c:pt>
              </c:numCache>
            </c:numRef>
          </c:val>
          <c:smooth val="0"/>
          <c:extLst>
            <c:ext xmlns:c16="http://schemas.microsoft.com/office/drawing/2014/chart" uri="{C3380CC4-5D6E-409C-BE32-E72D297353CC}">
              <c16:uniqueId val="{0000000E-2234-4E8D-B3C9-A4E68DBF4A83}"/>
            </c:ext>
          </c:extLst>
        </c:ser>
        <c:dLbls>
          <c:showLegendKey val="0"/>
          <c:showVal val="0"/>
          <c:showCatName val="0"/>
          <c:showSerName val="0"/>
          <c:showPercent val="0"/>
          <c:showBubbleSize val="0"/>
        </c:dLbls>
        <c:smooth val="0"/>
        <c:axId val="979383072"/>
        <c:axId val="979383488"/>
      </c:lineChart>
      <c:catAx>
        <c:axId val="97938307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979383488"/>
        <c:crosses val="autoZero"/>
        <c:auto val="1"/>
        <c:lblAlgn val="ctr"/>
        <c:lblOffset val="100"/>
        <c:noMultiLvlLbl val="0"/>
      </c:catAx>
      <c:valAx>
        <c:axId val="979383488"/>
        <c:scaling>
          <c:orientation val="minMax"/>
          <c:min val="1"/>
        </c:scaling>
        <c:delete val="0"/>
        <c:axPos val="l"/>
        <c:majorGridlines>
          <c:spPr>
            <a:ln w="9525" cap="flat" cmpd="sng" algn="ctr">
              <a:solidFill>
                <a:schemeClr val="tx1">
                  <a:lumMod val="15000"/>
                  <a:lumOff val="85000"/>
                </a:schemeClr>
              </a:solidFill>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97938307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9</c:f>
              <c:strCache>
                <c:ptCount val="18"/>
                <c:pt idx="0">
                  <c:v>Kerr-Tar</c:v>
                </c:pt>
                <c:pt idx="1">
                  <c:v>Upper Coastal Plain</c:v>
                </c:pt>
                <c:pt idx="2">
                  <c:v>Mid-Carolina</c:v>
                </c:pt>
                <c:pt idx="3">
                  <c:v>Isothermal</c:v>
                </c:pt>
                <c:pt idx="4">
                  <c:v>Southwestern Commission</c:v>
                </c:pt>
                <c:pt idx="5">
                  <c:v>Triangle J</c:v>
                </c:pt>
                <c:pt idx="6">
                  <c:v>Eastern Carolina</c:v>
                </c:pt>
                <c:pt idx="7">
                  <c:v>Albemarle Commission</c:v>
                </c:pt>
                <c:pt idx="8">
                  <c:v>Land-of-Sky Regional Council</c:v>
                </c:pt>
                <c:pt idx="9">
                  <c:v>Cape Fear</c:v>
                </c:pt>
                <c:pt idx="10">
                  <c:v>Lumber River</c:v>
                </c:pt>
                <c:pt idx="11">
                  <c:v>Mid-East Commission</c:v>
                </c:pt>
                <c:pt idx="12">
                  <c:v>Centralina Regional Councils</c:v>
                </c:pt>
                <c:pt idx="13">
                  <c:v>High Country</c:v>
                </c:pt>
                <c:pt idx="14">
                  <c:v>Western Piedmont</c:v>
                </c:pt>
                <c:pt idx="15">
                  <c:v>Piedmont Triad</c:v>
                </c:pt>
                <c:pt idx="16">
                  <c:v>North Carolina</c:v>
                </c:pt>
                <c:pt idx="17">
                  <c:v>United States</c:v>
                </c:pt>
              </c:strCache>
            </c:strRef>
          </c:cat>
          <c:val>
            <c:numRef>
              <c:f>Sheet1!$B$2:$B$19</c:f>
              <c:numCache>
                <c:formatCode>0.0</c:formatCode>
                <c:ptCount val="18"/>
                <c:pt idx="0">
                  <c:v>11.653280667105552</c:v>
                </c:pt>
                <c:pt idx="1">
                  <c:v>47.618157071761786</c:v>
                </c:pt>
                <c:pt idx="2">
                  <c:v>18.529503235153566</c:v>
                </c:pt>
                <c:pt idx="3">
                  <c:v>13.834264423857567</c:v>
                </c:pt>
                <c:pt idx="4">
                  <c:v>4.5563161657412028</c:v>
                </c:pt>
                <c:pt idx="5">
                  <c:v>74.630982370817705</c:v>
                </c:pt>
                <c:pt idx="6">
                  <c:v>28.56076006483757</c:v>
                </c:pt>
                <c:pt idx="7">
                  <c:v>25.535280229812869</c:v>
                </c:pt>
                <c:pt idx="8">
                  <c:v>32.580607030497013</c:v>
                </c:pt>
                <c:pt idx="9">
                  <c:v>59.07979569799312</c:v>
                </c:pt>
                <c:pt idx="10">
                  <c:v>16.585069986707246</c:v>
                </c:pt>
                <c:pt idx="11">
                  <c:v>56.597273952841057</c:v>
                </c:pt>
                <c:pt idx="12">
                  <c:v>66.811881684788275</c:v>
                </c:pt>
                <c:pt idx="13">
                  <c:v>27.628785954891971</c:v>
                </c:pt>
                <c:pt idx="14">
                  <c:v>10.012155192238199</c:v>
                </c:pt>
                <c:pt idx="15">
                  <c:v>56.322051986675028</c:v>
                </c:pt>
                <c:pt idx="16">
                  <c:v>50.9</c:v>
                </c:pt>
                <c:pt idx="17">
                  <c:v>56.7</c:v>
                </c:pt>
              </c:numCache>
            </c:numRef>
          </c:val>
          <c:extLst>
            <c:ext xmlns:c16="http://schemas.microsoft.com/office/drawing/2014/chart" uri="{C3380CC4-5D6E-409C-BE32-E72D297353CC}">
              <c16:uniqueId val="{00000000-532E-4707-A74F-D0431835BB1C}"/>
            </c:ext>
          </c:extLst>
        </c:ser>
        <c:dLbls>
          <c:showLegendKey val="0"/>
          <c:showVal val="0"/>
          <c:showCatName val="0"/>
          <c:showSerName val="0"/>
          <c:showPercent val="0"/>
          <c:showBubbleSize val="0"/>
        </c:dLbls>
        <c:gapWidth val="40"/>
        <c:axId val="1226792208"/>
        <c:axId val="1226797616"/>
      </c:barChart>
      <c:catAx>
        <c:axId val="12267922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7616"/>
        <c:crosses val="autoZero"/>
        <c:auto val="1"/>
        <c:lblAlgn val="ctr"/>
        <c:lblOffset val="100"/>
        <c:noMultiLvlLbl val="0"/>
      </c:catAx>
      <c:valAx>
        <c:axId val="1226797616"/>
        <c:scaling>
          <c:orientation val="minMax"/>
          <c:max val="100"/>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2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9</c:f>
              <c:strCache>
                <c:ptCount val="18"/>
                <c:pt idx="0">
                  <c:v>Kerr-Tar</c:v>
                </c:pt>
                <c:pt idx="1">
                  <c:v>Upper Coastal Plain</c:v>
                </c:pt>
                <c:pt idx="2">
                  <c:v>Mid-Carolina</c:v>
                </c:pt>
                <c:pt idx="3">
                  <c:v>Isothermal</c:v>
                </c:pt>
                <c:pt idx="4">
                  <c:v>Southwestern Commission</c:v>
                </c:pt>
                <c:pt idx="5">
                  <c:v>Triangle J</c:v>
                </c:pt>
                <c:pt idx="6">
                  <c:v>Eastern Carolina</c:v>
                </c:pt>
                <c:pt idx="7">
                  <c:v>Albemarle Commission</c:v>
                </c:pt>
                <c:pt idx="8">
                  <c:v>Land-of-Sky Regional Council</c:v>
                </c:pt>
                <c:pt idx="9">
                  <c:v>Cape Fear</c:v>
                </c:pt>
                <c:pt idx="10">
                  <c:v>Lumber River</c:v>
                </c:pt>
                <c:pt idx="11">
                  <c:v>Mid-East Commission</c:v>
                </c:pt>
                <c:pt idx="12">
                  <c:v>Centralina Regional Councils</c:v>
                </c:pt>
                <c:pt idx="13">
                  <c:v>High Country</c:v>
                </c:pt>
                <c:pt idx="14">
                  <c:v>Western Piedmont</c:v>
                </c:pt>
                <c:pt idx="15">
                  <c:v>Piedmont Triad</c:v>
                </c:pt>
                <c:pt idx="16">
                  <c:v>North Carolina</c:v>
                </c:pt>
                <c:pt idx="17">
                  <c:v>United States</c:v>
                </c:pt>
              </c:strCache>
            </c:strRef>
          </c:cat>
          <c:val>
            <c:numRef>
              <c:f>Sheet1!$B$2:$B$19</c:f>
              <c:numCache>
                <c:formatCode>0.0</c:formatCode>
                <c:ptCount val="18"/>
                <c:pt idx="0">
                  <c:v>1.1547070441079659</c:v>
                </c:pt>
                <c:pt idx="1">
                  <c:v>2.3439204563164293</c:v>
                </c:pt>
                <c:pt idx="2">
                  <c:v>2.4980467712939856</c:v>
                </c:pt>
                <c:pt idx="3">
                  <c:v>1.2103445400646862</c:v>
                </c:pt>
                <c:pt idx="4">
                  <c:v>0.69434243127576856</c:v>
                </c:pt>
                <c:pt idx="5">
                  <c:v>37.897178893566576</c:v>
                </c:pt>
                <c:pt idx="6">
                  <c:v>2.9271237683770641</c:v>
                </c:pt>
                <c:pt idx="7">
                  <c:v>1.1973297047090703</c:v>
                </c:pt>
                <c:pt idx="8">
                  <c:v>6.5920002182254631</c:v>
                </c:pt>
                <c:pt idx="9">
                  <c:v>17.221129239826634</c:v>
                </c:pt>
                <c:pt idx="10">
                  <c:v>1.40518199449404</c:v>
                </c:pt>
                <c:pt idx="11">
                  <c:v>0.90698663139496438</c:v>
                </c:pt>
                <c:pt idx="12">
                  <c:v>30.443390143627948</c:v>
                </c:pt>
                <c:pt idx="13">
                  <c:v>6.0814857761656738</c:v>
                </c:pt>
                <c:pt idx="14">
                  <c:v>1.9344276656555592</c:v>
                </c:pt>
                <c:pt idx="15">
                  <c:v>11.787981715719699</c:v>
                </c:pt>
                <c:pt idx="16">
                  <c:v>18</c:v>
                </c:pt>
                <c:pt idx="17">
                  <c:v>16</c:v>
                </c:pt>
              </c:numCache>
            </c:numRef>
          </c:val>
          <c:extLst>
            <c:ext xmlns:c16="http://schemas.microsoft.com/office/drawing/2014/chart" uri="{C3380CC4-5D6E-409C-BE32-E72D297353CC}">
              <c16:uniqueId val="{00000000-532E-4707-A74F-D0431835BB1C}"/>
            </c:ext>
          </c:extLst>
        </c:ser>
        <c:dLbls>
          <c:showLegendKey val="0"/>
          <c:showVal val="0"/>
          <c:showCatName val="0"/>
          <c:showSerName val="0"/>
          <c:showPercent val="0"/>
          <c:showBubbleSize val="0"/>
        </c:dLbls>
        <c:gapWidth val="40"/>
        <c:axId val="1226792208"/>
        <c:axId val="1226797616"/>
      </c:barChart>
      <c:catAx>
        <c:axId val="12267922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7616"/>
        <c:crosses val="autoZero"/>
        <c:auto val="1"/>
        <c:lblAlgn val="ctr"/>
        <c:lblOffset val="100"/>
        <c:noMultiLvlLbl val="0"/>
      </c:catAx>
      <c:valAx>
        <c:axId val="1226797616"/>
        <c:scaling>
          <c:orientation val="minMax"/>
          <c:max val="100"/>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2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9</c:f>
              <c:strCache>
                <c:ptCount val="18"/>
                <c:pt idx="0">
                  <c:v>Kerr-Tar</c:v>
                </c:pt>
                <c:pt idx="1">
                  <c:v>Upper Coastal Plain</c:v>
                </c:pt>
                <c:pt idx="2">
                  <c:v>Mid-Carolina</c:v>
                </c:pt>
                <c:pt idx="3">
                  <c:v>Isothermal</c:v>
                </c:pt>
                <c:pt idx="4">
                  <c:v>Southwestern Commission</c:v>
                </c:pt>
                <c:pt idx="5">
                  <c:v>Triangle J</c:v>
                </c:pt>
                <c:pt idx="6">
                  <c:v>Eastern Carolina</c:v>
                </c:pt>
                <c:pt idx="7">
                  <c:v>Albemarle Commission</c:v>
                </c:pt>
                <c:pt idx="8">
                  <c:v>Land-of-Sky Regional Council</c:v>
                </c:pt>
                <c:pt idx="9">
                  <c:v>Cape Fear</c:v>
                </c:pt>
                <c:pt idx="10">
                  <c:v>Lumber River</c:v>
                </c:pt>
                <c:pt idx="11">
                  <c:v>Mid-East Commission</c:v>
                </c:pt>
                <c:pt idx="12">
                  <c:v>Centralina Regional Councils</c:v>
                </c:pt>
                <c:pt idx="13">
                  <c:v>High Country</c:v>
                </c:pt>
                <c:pt idx="14">
                  <c:v>Western Piedmont</c:v>
                </c:pt>
                <c:pt idx="15">
                  <c:v>Piedmont Triad</c:v>
                </c:pt>
                <c:pt idx="16">
                  <c:v>North Carolina</c:v>
                </c:pt>
                <c:pt idx="17">
                  <c:v>United States</c:v>
                </c:pt>
              </c:strCache>
            </c:strRef>
          </c:cat>
          <c:val>
            <c:numRef>
              <c:f>Sheet1!$B$2:$B$19</c:f>
              <c:numCache>
                <c:formatCode>0.0</c:formatCode>
                <c:ptCount val="18"/>
                <c:pt idx="0">
                  <c:v>73.895302807527344</c:v>
                </c:pt>
                <c:pt idx="1">
                  <c:v>49.098333119763943</c:v>
                </c:pt>
                <c:pt idx="2">
                  <c:v>40.041757374860623</c:v>
                </c:pt>
                <c:pt idx="3">
                  <c:v>73.072534494259727</c:v>
                </c:pt>
                <c:pt idx="4">
                  <c:v>77.035814668638409</c:v>
                </c:pt>
                <c:pt idx="5">
                  <c:v>27.069851867651138</c:v>
                </c:pt>
                <c:pt idx="6">
                  <c:v>53.931948229204174</c:v>
                </c:pt>
                <c:pt idx="7">
                  <c:v>59.908463891505868</c:v>
                </c:pt>
                <c:pt idx="8">
                  <c:v>47.188743152008364</c:v>
                </c:pt>
                <c:pt idx="9">
                  <c:v>34.267945030631289</c:v>
                </c:pt>
                <c:pt idx="10">
                  <c:v>65.88229739447516</c:v>
                </c:pt>
                <c:pt idx="11">
                  <c:v>46.198066654125</c:v>
                </c:pt>
                <c:pt idx="12">
                  <c:v>26.024454847184231</c:v>
                </c:pt>
                <c:pt idx="13">
                  <c:v>81.954667433390838</c:v>
                </c:pt>
                <c:pt idx="14">
                  <c:v>60.375183772699529</c:v>
                </c:pt>
                <c:pt idx="15">
                  <c:v>41.593185269464925</c:v>
                </c:pt>
                <c:pt idx="16">
                  <c:v>40.700000000000003</c:v>
                </c:pt>
                <c:pt idx="17">
                  <c:v>23.4</c:v>
                </c:pt>
              </c:numCache>
            </c:numRef>
          </c:val>
          <c:extLst>
            <c:ext xmlns:c16="http://schemas.microsoft.com/office/drawing/2014/chart" uri="{C3380CC4-5D6E-409C-BE32-E72D297353CC}">
              <c16:uniqueId val="{00000000-0240-4B3F-B5E3-376742615FEB}"/>
            </c:ext>
          </c:extLst>
        </c:ser>
        <c:dLbls>
          <c:showLegendKey val="0"/>
          <c:showVal val="0"/>
          <c:showCatName val="0"/>
          <c:showSerName val="0"/>
          <c:showPercent val="0"/>
          <c:showBubbleSize val="0"/>
        </c:dLbls>
        <c:gapWidth val="40"/>
        <c:axId val="1226792208"/>
        <c:axId val="1226797616"/>
      </c:barChart>
      <c:catAx>
        <c:axId val="12267922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7616"/>
        <c:crosses val="autoZero"/>
        <c:auto val="1"/>
        <c:lblAlgn val="ctr"/>
        <c:lblOffset val="100"/>
        <c:noMultiLvlLbl val="0"/>
      </c:catAx>
      <c:valAx>
        <c:axId val="1226797616"/>
        <c:scaling>
          <c:orientation val="minMax"/>
          <c:max val="100"/>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2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9</c:f>
              <c:strCache>
                <c:ptCount val="18"/>
                <c:pt idx="0">
                  <c:v>Kerr-Tar</c:v>
                </c:pt>
                <c:pt idx="1">
                  <c:v>Upper Coastal Plain</c:v>
                </c:pt>
                <c:pt idx="2">
                  <c:v>Mid-Carolina</c:v>
                </c:pt>
                <c:pt idx="3">
                  <c:v>Isothermal</c:v>
                </c:pt>
                <c:pt idx="4">
                  <c:v>Southwestern Commission</c:v>
                </c:pt>
                <c:pt idx="5">
                  <c:v>Triangle J</c:v>
                </c:pt>
                <c:pt idx="6">
                  <c:v>Eastern Carolina</c:v>
                </c:pt>
                <c:pt idx="7">
                  <c:v>Albemarle Commission</c:v>
                </c:pt>
                <c:pt idx="8">
                  <c:v>Land-of-Sky Regional Council</c:v>
                </c:pt>
                <c:pt idx="9">
                  <c:v>Cape Fear</c:v>
                </c:pt>
                <c:pt idx="10">
                  <c:v>Lumber River</c:v>
                </c:pt>
                <c:pt idx="11">
                  <c:v>Mid-East Commission</c:v>
                </c:pt>
                <c:pt idx="12">
                  <c:v>Centralina Regional Councils</c:v>
                </c:pt>
                <c:pt idx="13">
                  <c:v>High Country</c:v>
                </c:pt>
                <c:pt idx="14">
                  <c:v>Western Piedmont</c:v>
                </c:pt>
                <c:pt idx="15">
                  <c:v>Piedmont Triad</c:v>
                </c:pt>
                <c:pt idx="16">
                  <c:v>North Carolina</c:v>
                </c:pt>
                <c:pt idx="17">
                  <c:v>United States</c:v>
                </c:pt>
              </c:strCache>
            </c:strRef>
          </c:cat>
          <c:val>
            <c:numRef>
              <c:f>Sheet1!$B$2:$B$19</c:f>
              <c:numCache>
                <c:formatCode>0.0</c:formatCode>
                <c:ptCount val="18"/>
                <c:pt idx="0">
                  <c:v>17.520095332884043</c:v>
                </c:pt>
                <c:pt idx="1">
                  <c:v>16.423397199576478</c:v>
                </c:pt>
                <c:pt idx="2">
                  <c:v>15.649911494248153</c:v>
                </c:pt>
                <c:pt idx="3">
                  <c:v>17.972022691027981</c:v>
                </c:pt>
                <c:pt idx="4">
                  <c:v>16.963980182405187</c:v>
                </c:pt>
                <c:pt idx="5">
                  <c:v>9.9671085070629051</c:v>
                </c:pt>
                <c:pt idx="6">
                  <c:v>17.27648699285967</c:v>
                </c:pt>
                <c:pt idx="7">
                  <c:v>15.016334414345669</c:v>
                </c:pt>
                <c:pt idx="8">
                  <c:v>14.102178151789808</c:v>
                </c:pt>
                <c:pt idx="9">
                  <c:v>14.037922349474885</c:v>
                </c:pt>
                <c:pt idx="10">
                  <c:v>16.927720190027262</c:v>
                </c:pt>
                <c:pt idx="11">
                  <c:v>16.483054257101266</c:v>
                </c:pt>
                <c:pt idx="12">
                  <c:v>10.386650472806044</c:v>
                </c:pt>
                <c:pt idx="13">
                  <c:v>16.977755673229765</c:v>
                </c:pt>
                <c:pt idx="14">
                  <c:v>16.998163503812123</c:v>
                </c:pt>
                <c:pt idx="15">
                  <c:v>13.609490176457243</c:v>
                </c:pt>
                <c:pt idx="16">
                  <c:v>13.2</c:v>
                </c:pt>
                <c:pt idx="17">
                  <c:v>12.6</c:v>
                </c:pt>
              </c:numCache>
            </c:numRef>
          </c:val>
          <c:extLst>
            <c:ext xmlns:c16="http://schemas.microsoft.com/office/drawing/2014/chart" uri="{C3380CC4-5D6E-409C-BE32-E72D297353CC}">
              <c16:uniqueId val="{00000000-0240-4B3F-B5E3-376742615FEB}"/>
            </c:ext>
          </c:extLst>
        </c:ser>
        <c:dLbls>
          <c:showLegendKey val="0"/>
          <c:showVal val="0"/>
          <c:showCatName val="0"/>
          <c:showSerName val="0"/>
          <c:showPercent val="0"/>
          <c:showBubbleSize val="0"/>
        </c:dLbls>
        <c:gapWidth val="40"/>
        <c:axId val="1226792208"/>
        <c:axId val="1226797616"/>
      </c:barChart>
      <c:catAx>
        <c:axId val="12267922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7616"/>
        <c:crosses val="autoZero"/>
        <c:auto val="1"/>
        <c:lblAlgn val="ctr"/>
        <c:lblOffset val="100"/>
        <c:noMultiLvlLbl val="0"/>
      </c:catAx>
      <c:valAx>
        <c:axId val="1226797616"/>
        <c:scaling>
          <c:orientation val="minMax"/>
          <c:max val="30"/>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2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9</c:f>
              <c:strCache>
                <c:ptCount val="18"/>
                <c:pt idx="0">
                  <c:v>Kerr-Tar</c:v>
                </c:pt>
                <c:pt idx="1">
                  <c:v>Upper Coastal Plain</c:v>
                </c:pt>
                <c:pt idx="2">
                  <c:v>Mid-Carolina</c:v>
                </c:pt>
                <c:pt idx="3">
                  <c:v>Isothermal</c:v>
                </c:pt>
                <c:pt idx="4">
                  <c:v>Southwestern Commission</c:v>
                </c:pt>
                <c:pt idx="5">
                  <c:v>Triangle J</c:v>
                </c:pt>
                <c:pt idx="6">
                  <c:v>Eastern Carolina</c:v>
                </c:pt>
                <c:pt idx="7">
                  <c:v>Albemarle Commission</c:v>
                </c:pt>
                <c:pt idx="8">
                  <c:v>Land-of-Sky Regional Council</c:v>
                </c:pt>
                <c:pt idx="9">
                  <c:v>Cape Fear</c:v>
                </c:pt>
                <c:pt idx="10">
                  <c:v>Lumber River</c:v>
                </c:pt>
                <c:pt idx="11">
                  <c:v>Mid-East Commission</c:v>
                </c:pt>
                <c:pt idx="12">
                  <c:v>Centralina Regional Councils</c:v>
                </c:pt>
                <c:pt idx="13">
                  <c:v>High Country</c:v>
                </c:pt>
                <c:pt idx="14">
                  <c:v>Western Piedmont</c:v>
                </c:pt>
                <c:pt idx="15">
                  <c:v>Piedmont Triad</c:v>
                </c:pt>
                <c:pt idx="16">
                  <c:v>North Carolina</c:v>
                </c:pt>
                <c:pt idx="17">
                  <c:v>United States</c:v>
                </c:pt>
              </c:strCache>
            </c:strRef>
          </c:cat>
          <c:val>
            <c:numRef>
              <c:f>Sheet1!$B$2:$B$19</c:f>
              <c:numCache>
                <c:formatCode>0.0</c:formatCode>
                <c:ptCount val="18"/>
                <c:pt idx="0">
                  <c:v>7.566225349917044</c:v>
                </c:pt>
                <c:pt idx="1">
                  <c:v>7.715334576194631</c:v>
                </c:pt>
                <c:pt idx="2">
                  <c:v>15.637202400874667</c:v>
                </c:pt>
                <c:pt idx="3">
                  <c:v>7.856805358681453</c:v>
                </c:pt>
                <c:pt idx="4">
                  <c:v>9.7398068992052327</c:v>
                </c:pt>
                <c:pt idx="5">
                  <c:v>6.6219579441862075</c:v>
                </c:pt>
                <c:pt idx="6">
                  <c:v>14.297886920729097</c:v>
                </c:pt>
                <c:pt idx="7">
                  <c:v>11.07297473609299</c:v>
                </c:pt>
                <c:pt idx="8">
                  <c:v>8.2643491344342728</c:v>
                </c:pt>
                <c:pt idx="9">
                  <c:v>9.0497678543481666</c:v>
                </c:pt>
                <c:pt idx="10">
                  <c:v>8.8399548598049709</c:v>
                </c:pt>
                <c:pt idx="11">
                  <c:v>7.7351307836100922</c:v>
                </c:pt>
                <c:pt idx="12">
                  <c:v>6.5390781655186041</c:v>
                </c:pt>
                <c:pt idx="13">
                  <c:v>6.86910462503538</c:v>
                </c:pt>
                <c:pt idx="14">
                  <c:v>6.9945211544315002</c:v>
                </c:pt>
                <c:pt idx="15">
                  <c:v>6.9307606679035256</c:v>
                </c:pt>
                <c:pt idx="16">
                  <c:v>8</c:v>
                </c:pt>
                <c:pt idx="17">
                  <c:v>6.9</c:v>
                </c:pt>
              </c:numCache>
            </c:numRef>
          </c:val>
          <c:extLst>
            <c:ext xmlns:c16="http://schemas.microsoft.com/office/drawing/2014/chart" uri="{C3380CC4-5D6E-409C-BE32-E72D297353CC}">
              <c16:uniqueId val="{00000000-0240-4B3F-B5E3-376742615FEB}"/>
            </c:ext>
          </c:extLst>
        </c:ser>
        <c:dLbls>
          <c:showLegendKey val="0"/>
          <c:showVal val="0"/>
          <c:showCatName val="0"/>
          <c:showSerName val="0"/>
          <c:showPercent val="0"/>
          <c:showBubbleSize val="0"/>
        </c:dLbls>
        <c:gapWidth val="40"/>
        <c:axId val="1226792208"/>
        <c:axId val="1226797616"/>
      </c:barChart>
      <c:catAx>
        <c:axId val="12267922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7616"/>
        <c:crosses val="autoZero"/>
        <c:auto val="1"/>
        <c:lblAlgn val="ctr"/>
        <c:lblOffset val="100"/>
        <c:noMultiLvlLbl val="0"/>
      </c:catAx>
      <c:valAx>
        <c:axId val="1226797616"/>
        <c:scaling>
          <c:orientation val="minMax"/>
          <c:max val="30"/>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2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9</c:f>
              <c:strCache>
                <c:ptCount val="18"/>
                <c:pt idx="0">
                  <c:v>Kerr-Tar</c:v>
                </c:pt>
                <c:pt idx="1">
                  <c:v>Upper Coastal Plain</c:v>
                </c:pt>
                <c:pt idx="2">
                  <c:v>Mid-Carolina</c:v>
                </c:pt>
                <c:pt idx="3">
                  <c:v>Isothermal</c:v>
                </c:pt>
                <c:pt idx="4">
                  <c:v>Southwestern Commission</c:v>
                </c:pt>
                <c:pt idx="5">
                  <c:v>Triangle J</c:v>
                </c:pt>
                <c:pt idx="6">
                  <c:v>Eastern Carolina</c:v>
                </c:pt>
                <c:pt idx="7">
                  <c:v>Albemarle Commission</c:v>
                </c:pt>
                <c:pt idx="8">
                  <c:v>Land-of-Sky Regional Council</c:v>
                </c:pt>
                <c:pt idx="9">
                  <c:v>Cape Fear</c:v>
                </c:pt>
                <c:pt idx="10">
                  <c:v>Lumber River</c:v>
                </c:pt>
                <c:pt idx="11">
                  <c:v>Mid-East Commission</c:v>
                </c:pt>
                <c:pt idx="12">
                  <c:v>Centralina Regional Councils</c:v>
                </c:pt>
                <c:pt idx="13">
                  <c:v>High Country</c:v>
                </c:pt>
                <c:pt idx="14">
                  <c:v>Western Piedmont</c:v>
                </c:pt>
                <c:pt idx="15">
                  <c:v>Piedmont Triad</c:v>
                </c:pt>
                <c:pt idx="16">
                  <c:v>North Carolina</c:v>
                </c:pt>
                <c:pt idx="17">
                  <c:v>United States</c:v>
                </c:pt>
              </c:strCache>
            </c:strRef>
          </c:cat>
          <c:val>
            <c:numRef>
              <c:f>Sheet1!$B$2:$B$19</c:f>
              <c:numCache>
                <c:formatCode>0.0</c:formatCode>
                <c:ptCount val="18"/>
                <c:pt idx="0">
                  <c:v>44.798026114677491</c:v>
                </c:pt>
                <c:pt idx="1">
                  <c:v>56.995959199280719</c:v>
                </c:pt>
                <c:pt idx="2">
                  <c:v>52.725783275425563</c:v>
                </c:pt>
                <c:pt idx="3">
                  <c:v>20.98140087059754</c:v>
                </c:pt>
                <c:pt idx="4">
                  <c:v>14.057750385511653</c:v>
                </c:pt>
                <c:pt idx="5">
                  <c:v>41.022213522187634</c:v>
                </c:pt>
                <c:pt idx="6">
                  <c:v>38.057836879934456</c:v>
                </c:pt>
                <c:pt idx="7">
                  <c:v>30.847864602760168</c:v>
                </c:pt>
                <c:pt idx="8">
                  <c:v>16.227377404187322</c:v>
                </c:pt>
                <c:pt idx="9">
                  <c:v>24.191011092639911</c:v>
                </c:pt>
                <c:pt idx="10">
                  <c:v>63.00815049720903</c:v>
                </c:pt>
                <c:pt idx="11">
                  <c:v>47.709357655511006</c:v>
                </c:pt>
                <c:pt idx="12">
                  <c:v>41.391020322382197</c:v>
                </c:pt>
                <c:pt idx="13">
                  <c:v>10.526139490369658</c:v>
                </c:pt>
                <c:pt idx="14">
                  <c:v>20.276970047440642</c:v>
                </c:pt>
                <c:pt idx="15">
                  <c:v>37.502602417003807</c:v>
                </c:pt>
                <c:pt idx="16">
                  <c:v>37.9</c:v>
                </c:pt>
                <c:pt idx="17">
                  <c:v>40.6</c:v>
                </c:pt>
              </c:numCache>
            </c:numRef>
          </c:val>
          <c:extLst>
            <c:ext xmlns:c16="http://schemas.microsoft.com/office/drawing/2014/chart" uri="{C3380CC4-5D6E-409C-BE32-E72D297353CC}">
              <c16:uniqueId val="{00000000-0240-4B3F-B5E3-376742615FEB}"/>
            </c:ext>
          </c:extLst>
        </c:ser>
        <c:dLbls>
          <c:showLegendKey val="0"/>
          <c:showVal val="0"/>
          <c:showCatName val="0"/>
          <c:showSerName val="0"/>
          <c:showPercent val="0"/>
          <c:showBubbleSize val="0"/>
        </c:dLbls>
        <c:gapWidth val="40"/>
        <c:axId val="1226792208"/>
        <c:axId val="1226797616"/>
      </c:barChart>
      <c:catAx>
        <c:axId val="12267922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7616"/>
        <c:crosses val="autoZero"/>
        <c:auto val="1"/>
        <c:lblAlgn val="ctr"/>
        <c:lblOffset val="100"/>
        <c:noMultiLvlLbl val="0"/>
      </c:catAx>
      <c:valAx>
        <c:axId val="1226797616"/>
        <c:scaling>
          <c:orientation val="minMax"/>
          <c:max val="100"/>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2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9</c:f>
              <c:strCache>
                <c:ptCount val="18"/>
                <c:pt idx="0">
                  <c:v>Kerr-Tar</c:v>
                </c:pt>
                <c:pt idx="1">
                  <c:v>Upper Coastal Plain</c:v>
                </c:pt>
                <c:pt idx="2">
                  <c:v>Mid-Carolina</c:v>
                </c:pt>
                <c:pt idx="3">
                  <c:v>Isothermal</c:v>
                </c:pt>
                <c:pt idx="4">
                  <c:v>Southwestern Commission</c:v>
                </c:pt>
                <c:pt idx="5">
                  <c:v>Triangle J</c:v>
                </c:pt>
                <c:pt idx="6">
                  <c:v>Eastern Carolina</c:v>
                </c:pt>
                <c:pt idx="7">
                  <c:v>Albemarle Commission</c:v>
                </c:pt>
                <c:pt idx="8">
                  <c:v>Land-of-Sky Regional Council</c:v>
                </c:pt>
                <c:pt idx="9">
                  <c:v>Cape Fear</c:v>
                </c:pt>
                <c:pt idx="10">
                  <c:v>Lumber River</c:v>
                </c:pt>
                <c:pt idx="11">
                  <c:v>Mid-East Commission</c:v>
                </c:pt>
                <c:pt idx="12">
                  <c:v>Centralina Regional Councils</c:v>
                </c:pt>
                <c:pt idx="13">
                  <c:v>High Country</c:v>
                </c:pt>
                <c:pt idx="14">
                  <c:v>Western Piedmont</c:v>
                </c:pt>
                <c:pt idx="15">
                  <c:v>Piedmont Triad</c:v>
                </c:pt>
                <c:pt idx="16">
                  <c:v>North Carolina</c:v>
                </c:pt>
                <c:pt idx="17">
                  <c:v>United States</c:v>
                </c:pt>
              </c:strCache>
            </c:strRef>
          </c:cat>
          <c:val>
            <c:numRef>
              <c:f>Sheet1!$B$2:$B$19</c:f>
              <c:numCache>
                <c:formatCode>0.0</c:formatCode>
                <c:ptCount val="18"/>
                <c:pt idx="0">
                  <c:v>15.511089595323902</c:v>
                </c:pt>
                <c:pt idx="1">
                  <c:v>19.5542142824482</c:v>
                </c:pt>
                <c:pt idx="2">
                  <c:v>17.636775783732418</c:v>
                </c:pt>
                <c:pt idx="3">
                  <c:v>16.673240168879246</c:v>
                </c:pt>
                <c:pt idx="4">
                  <c:v>15.69838681910703</c:v>
                </c:pt>
                <c:pt idx="5">
                  <c:v>10.292088444526785</c:v>
                </c:pt>
                <c:pt idx="6">
                  <c:v>15.738946597416433</c:v>
                </c:pt>
                <c:pt idx="7">
                  <c:v>12.357278710753521</c:v>
                </c:pt>
                <c:pt idx="8">
                  <c:v>11.055943057833643</c:v>
                </c:pt>
                <c:pt idx="9">
                  <c:v>13.274374846121834</c:v>
                </c:pt>
                <c:pt idx="10">
                  <c:v>24.708962187300976</c:v>
                </c:pt>
                <c:pt idx="11">
                  <c:v>20.497698828016485</c:v>
                </c:pt>
                <c:pt idx="12">
                  <c:v>10.829480999748364</c:v>
                </c:pt>
                <c:pt idx="13">
                  <c:v>17.668579156385142</c:v>
                </c:pt>
                <c:pt idx="14">
                  <c:v>14.09283763915144</c:v>
                </c:pt>
                <c:pt idx="15">
                  <c:v>15.111303954566818</c:v>
                </c:pt>
                <c:pt idx="16">
                  <c:v>13.7</c:v>
                </c:pt>
                <c:pt idx="17">
                  <c:v>12.6</c:v>
                </c:pt>
              </c:numCache>
            </c:numRef>
          </c:val>
          <c:extLst>
            <c:ext xmlns:c16="http://schemas.microsoft.com/office/drawing/2014/chart" uri="{C3380CC4-5D6E-409C-BE32-E72D297353CC}">
              <c16:uniqueId val="{00000000-0240-4B3F-B5E3-376742615FEB}"/>
            </c:ext>
          </c:extLst>
        </c:ser>
        <c:dLbls>
          <c:showLegendKey val="0"/>
          <c:showVal val="0"/>
          <c:showCatName val="0"/>
          <c:showSerName val="0"/>
          <c:showPercent val="0"/>
          <c:showBubbleSize val="0"/>
        </c:dLbls>
        <c:gapWidth val="40"/>
        <c:axId val="1226792208"/>
        <c:axId val="1226797616"/>
      </c:barChart>
      <c:catAx>
        <c:axId val="12267922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7616"/>
        <c:crosses val="autoZero"/>
        <c:auto val="1"/>
        <c:lblAlgn val="ctr"/>
        <c:lblOffset val="100"/>
        <c:noMultiLvlLbl val="0"/>
      </c:catAx>
      <c:valAx>
        <c:axId val="1226797616"/>
        <c:scaling>
          <c:orientation val="minMax"/>
          <c:max val="30"/>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2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9</c:f>
              <c:strCache>
                <c:ptCount val="18"/>
                <c:pt idx="0">
                  <c:v>Kerr-Tar</c:v>
                </c:pt>
                <c:pt idx="1">
                  <c:v>Upper Coastal Plain</c:v>
                </c:pt>
                <c:pt idx="2">
                  <c:v>Mid-Carolina</c:v>
                </c:pt>
                <c:pt idx="3">
                  <c:v>Isothermal</c:v>
                </c:pt>
                <c:pt idx="4">
                  <c:v>Southwestern Commission</c:v>
                </c:pt>
                <c:pt idx="5">
                  <c:v>Triangle J</c:v>
                </c:pt>
                <c:pt idx="6">
                  <c:v>Eastern Carolina</c:v>
                </c:pt>
                <c:pt idx="7">
                  <c:v>Albemarle Commission</c:v>
                </c:pt>
                <c:pt idx="8">
                  <c:v>Land-of-Sky Regional Council</c:v>
                </c:pt>
                <c:pt idx="9">
                  <c:v>Cape Fear</c:v>
                </c:pt>
                <c:pt idx="10">
                  <c:v>Lumber River</c:v>
                </c:pt>
                <c:pt idx="11">
                  <c:v>Mid-East Commission</c:v>
                </c:pt>
                <c:pt idx="12">
                  <c:v>Centralina Regional Councils</c:v>
                </c:pt>
                <c:pt idx="13">
                  <c:v>High Country</c:v>
                </c:pt>
                <c:pt idx="14">
                  <c:v>Western Piedmont</c:v>
                </c:pt>
                <c:pt idx="15">
                  <c:v>Piedmont Triad</c:v>
                </c:pt>
                <c:pt idx="16">
                  <c:v>North Carolina</c:v>
                </c:pt>
                <c:pt idx="17">
                  <c:v>United States</c:v>
                </c:pt>
              </c:strCache>
            </c:strRef>
          </c:cat>
          <c:val>
            <c:numRef>
              <c:f>Sheet1!$B$2:$B$19</c:f>
              <c:numCache>
                <c:formatCode>0.0</c:formatCode>
                <c:ptCount val="18"/>
                <c:pt idx="0">
                  <c:v>45.963258119816523</c:v>
                </c:pt>
                <c:pt idx="1">
                  <c:v>47.091992217764847</c:v>
                </c:pt>
                <c:pt idx="2">
                  <c:v>34.343251651043332</c:v>
                </c:pt>
                <c:pt idx="3">
                  <c:v>48.927792382124281</c:v>
                </c:pt>
                <c:pt idx="4">
                  <c:v>51.951199806091942</c:v>
                </c:pt>
                <c:pt idx="5">
                  <c:v>34.031256607908347</c:v>
                </c:pt>
                <c:pt idx="6">
                  <c:v>41.283582821283829</c:v>
                </c:pt>
                <c:pt idx="7">
                  <c:v>48.998311439283363</c:v>
                </c:pt>
                <c:pt idx="8">
                  <c:v>47.87405365442698</c:v>
                </c:pt>
                <c:pt idx="9">
                  <c:v>47.112838969966639</c:v>
                </c:pt>
                <c:pt idx="10">
                  <c:v>42.810974145521492</c:v>
                </c:pt>
                <c:pt idx="11">
                  <c:v>40.376378861248533</c:v>
                </c:pt>
                <c:pt idx="12">
                  <c:v>34.192529158541525</c:v>
                </c:pt>
                <c:pt idx="13">
                  <c:v>47.846445252297087</c:v>
                </c:pt>
                <c:pt idx="14">
                  <c:v>45.422717298634502</c:v>
                </c:pt>
                <c:pt idx="15">
                  <c:v>41.4748020390128</c:v>
                </c:pt>
                <c:pt idx="16">
                  <c:v>39.700000000000003</c:v>
                </c:pt>
                <c:pt idx="17">
                  <c:v>40.4</c:v>
                </c:pt>
              </c:numCache>
            </c:numRef>
          </c:val>
          <c:extLst>
            <c:ext xmlns:c16="http://schemas.microsoft.com/office/drawing/2014/chart" uri="{C3380CC4-5D6E-409C-BE32-E72D297353CC}">
              <c16:uniqueId val="{00000000-0240-4B3F-B5E3-376742615FEB}"/>
            </c:ext>
          </c:extLst>
        </c:ser>
        <c:dLbls>
          <c:showLegendKey val="0"/>
          <c:showVal val="0"/>
          <c:showCatName val="0"/>
          <c:showSerName val="0"/>
          <c:showPercent val="0"/>
          <c:showBubbleSize val="0"/>
        </c:dLbls>
        <c:gapWidth val="40"/>
        <c:axId val="1226792208"/>
        <c:axId val="1226797616"/>
      </c:barChart>
      <c:catAx>
        <c:axId val="12267922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7616"/>
        <c:crosses val="autoZero"/>
        <c:auto val="1"/>
        <c:lblAlgn val="ctr"/>
        <c:lblOffset val="100"/>
        <c:noMultiLvlLbl val="0"/>
      </c:catAx>
      <c:valAx>
        <c:axId val="1226797616"/>
        <c:scaling>
          <c:orientation val="minMax"/>
          <c:max val="100"/>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2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9</c:f>
              <c:strCache>
                <c:ptCount val="18"/>
                <c:pt idx="0">
                  <c:v>Kerr-Tar</c:v>
                </c:pt>
                <c:pt idx="1">
                  <c:v>Upper Coastal Plain</c:v>
                </c:pt>
                <c:pt idx="2">
                  <c:v>Mid-Carolina</c:v>
                </c:pt>
                <c:pt idx="3">
                  <c:v>Isothermal</c:v>
                </c:pt>
                <c:pt idx="4">
                  <c:v>Southwestern Commission</c:v>
                </c:pt>
                <c:pt idx="5">
                  <c:v>Triangle J</c:v>
                </c:pt>
                <c:pt idx="6">
                  <c:v>Eastern Carolina</c:v>
                </c:pt>
                <c:pt idx="7">
                  <c:v>Albemarle Commission</c:v>
                </c:pt>
                <c:pt idx="8">
                  <c:v>Land-of-Sky Regional Council</c:v>
                </c:pt>
                <c:pt idx="9">
                  <c:v>Cape Fear</c:v>
                </c:pt>
                <c:pt idx="10">
                  <c:v>Lumber River</c:v>
                </c:pt>
                <c:pt idx="11">
                  <c:v>Mid-East Commission</c:v>
                </c:pt>
                <c:pt idx="12">
                  <c:v>Centralina Regional Councils</c:v>
                </c:pt>
                <c:pt idx="13">
                  <c:v>High Country</c:v>
                </c:pt>
                <c:pt idx="14">
                  <c:v>Western Piedmont</c:v>
                </c:pt>
                <c:pt idx="15">
                  <c:v>Piedmont Triad</c:v>
                </c:pt>
                <c:pt idx="16">
                  <c:v>North Carolina</c:v>
                </c:pt>
                <c:pt idx="17">
                  <c:v>United States</c:v>
                </c:pt>
              </c:strCache>
            </c:strRef>
          </c:cat>
          <c:val>
            <c:numRef>
              <c:f>Sheet1!$B$2:$B$19</c:f>
              <c:numCache>
                <c:formatCode>0.0</c:formatCode>
                <c:ptCount val="18"/>
                <c:pt idx="0">
                  <c:v>29.857542973636658</c:v>
                </c:pt>
                <c:pt idx="1">
                  <c:v>29.155333069334205</c:v>
                </c:pt>
                <c:pt idx="2">
                  <c:v>32.660517585290982</c:v>
                </c:pt>
                <c:pt idx="3">
                  <c:v>27.097995413613742</c:v>
                </c:pt>
                <c:pt idx="4">
                  <c:v>22.37279631574695</c:v>
                </c:pt>
                <c:pt idx="5">
                  <c:v>32.123245099735378</c:v>
                </c:pt>
                <c:pt idx="6">
                  <c:v>30.878314158713561</c:v>
                </c:pt>
                <c:pt idx="7">
                  <c:v>26.966399072722592</c:v>
                </c:pt>
                <c:pt idx="8">
                  <c:v>23.027717251141919</c:v>
                </c:pt>
                <c:pt idx="9">
                  <c:v>23.082825859162625</c:v>
                </c:pt>
                <c:pt idx="10">
                  <c:v>31.38119046666133</c:v>
                </c:pt>
                <c:pt idx="11">
                  <c:v>27.806627274793282</c:v>
                </c:pt>
                <c:pt idx="12">
                  <c:v>33.007326428492576</c:v>
                </c:pt>
                <c:pt idx="13">
                  <c:v>22.9971540841657</c:v>
                </c:pt>
                <c:pt idx="14">
                  <c:v>28.941132650351509</c:v>
                </c:pt>
                <c:pt idx="15">
                  <c:v>29.800910064553136</c:v>
                </c:pt>
                <c:pt idx="16">
                  <c:v>30</c:v>
                </c:pt>
                <c:pt idx="17">
                  <c:v>30.6</c:v>
                </c:pt>
              </c:numCache>
            </c:numRef>
          </c:val>
          <c:extLst>
            <c:ext xmlns:c16="http://schemas.microsoft.com/office/drawing/2014/chart" uri="{C3380CC4-5D6E-409C-BE32-E72D297353CC}">
              <c16:uniqueId val="{00000000-0240-4B3F-B5E3-376742615FEB}"/>
            </c:ext>
          </c:extLst>
        </c:ser>
        <c:dLbls>
          <c:showLegendKey val="0"/>
          <c:showVal val="0"/>
          <c:showCatName val="0"/>
          <c:showSerName val="0"/>
          <c:showPercent val="0"/>
          <c:showBubbleSize val="0"/>
        </c:dLbls>
        <c:gapWidth val="40"/>
        <c:axId val="1226792208"/>
        <c:axId val="1226797616"/>
      </c:barChart>
      <c:catAx>
        <c:axId val="12267922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7616"/>
        <c:crosses val="autoZero"/>
        <c:auto val="1"/>
        <c:lblAlgn val="ctr"/>
        <c:lblOffset val="100"/>
        <c:noMultiLvlLbl val="0"/>
      </c:catAx>
      <c:valAx>
        <c:axId val="1226797616"/>
        <c:scaling>
          <c:orientation val="minMax"/>
          <c:max val="100"/>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2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9</c:f>
              <c:strCache>
                <c:ptCount val="18"/>
                <c:pt idx="0">
                  <c:v>Kerr-Tar</c:v>
                </c:pt>
                <c:pt idx="1">
                  <c:v>Upper Coastal Plain</c:v>
                </c:pt>
                <c:pt idx="2">
                  <c:v>Mid-Carolina</c:v>
                </c:pt>
                <c:pt idx="3">
                  <c:v>Isothermal</c:v>
                </c:pt>
                <c:pt idx="4">
                  <c:v>Southwestern Commission</c:v>
                </c:pt>
                <c:pt idx="5">
                  <c:v>Triangle J</c:v>
                </c:pt>
                <c:pt idx="6">
                  <c:v>Eastern Carolina</c:v>
                </c:pt>
                <c:pt idx="7">
                  <c:v>Albemarle Commission</c:v>
                </c:pt>
                <c:pt idx="8">
                  <c:v>Land-of-Sky Regional Council</c:v>
                </c:pt>
                <c:pt idx="9">
                  <c:v>Cape Fear</c:v>
                </c:pt>
                <c:pt idx="10">
                  <c:v>Lumber River</c:v>
                </c:pt>
                <c:pt idx="11">
                  <c:v>Mid-East Commission</c:v>
                </c:pt>
                <c:pt idx="12">
                  <c:v>Centralina Regional Councils</c:v>
                </c:pt>
                <c:pt idx="13">
                  <c:v>High Country</c:v>
                </c:pt>
                <c:pt idx="14">
                  <c:v>Western Piedmont</c:v>
                </c:pt>
                <c:pt idx="15">
                  <c:v>Piedmont Triad</c:v>
                </c:pt>
                <c:pt idx="16">
                  <c:v>North Carolina</c:v>
                </c:pt>
                <c:pt idx="17">
                  <c:v>United States</c:v>
                </c:pt>
              </c:strCache>
            </c:strRef>
          </c:cat>
          <c:val>
            <c:numRef>
              <c:f>Sheet1!$B$2:$B$19</c:f>
              <c:numCache>
                <c:formatCode>0.0</c:formatCode>
                <c:ptCount val="18"/>
                <c:pt idx="0">
                  <c:v>7.3321595700319691</c:v>
                </c:pt>
                <c:pt idx="1">
                  <c:v>6.1844665208932348</c:v>
                </c:pt>
                <c:pt idx="2">
                  <c:v>14.29508976094753</c:v>
                </c:pt>
                <c:pt idx="3">
                  <c:v>5.932099110688517</c:v>
                </c:pt>
                <c:pt idx="4">
                  <c:v>5.118941816041275</c:v>
                </c:pt>
                <c:pt idx="5">
                  <c:v>16.605345277227787</c:v>
                </c:pt>
                <c:pt idx="6">
                  <c:v>11.014511700875932</c:v>
                </c:pt>
                <c:pt idx="7">
                  <c:v>5.9514610343149883</c:v>
                </c:pt>
                <c:pt idx="8">
                  <c:v>8.0281052456630011</c:v>
                </c:pt>
                <c:pt idx="9">
                  <c:v>6.977580018932203</c:v>
                </c:pt>
                <c:pt idx="10">
                  <c:v>7.9444488913791718</c:v>
                </c:pt>
                <c:pt idx="11">
                  <c:v>6.876387602048843</c:v>
                </c:pt>
                <c:pt idx="12">
                  <c:v>14.940418153721623</c:v>
                </c:pt>
                <c:pt idx="13">
                  <c:v>6.0318356686549253</c:v>
                </c:pt>
                <c:pt idx="14">
                  <c:v>9.6053054550028651</c:v>
                </c:pt>
                <c:pt idx="15">
                  <c:v>11.653947222108425</c:v>
                </c:pt>
                <c:pt idx="16">
                  <c:v>12</c:v>
                </c:pt>
                <c:pt idx="17">
                  <c:v>22.1</c:v>
                </c:pt>
              </c:numCache>
            </c:numRef>
          </c:val>
          <c:extLst>
            <c:ext xmlns:c16="http://schemas.microsoft.com/office/drawing/2014/chart" uri="{C3380CC4-5D6E-409C-BE32-E72D297353CC}">
              <c16:uniqueId val="{00000000-0240-4B3F-B5E3-376742615FEB}"/>
            </c:ext>
          </c:extLst>
        </c:ser>
        <c:dLbls>
          <c:showLegendKey val="0"/>
          <c:showVal val="0"/>
          <c:showCatName val="0"/>
          <c:showSerName val="0"/>
          <c:showPercent val="0"/>
          <c:showBubbleSize val="0"/>
        </c:dLbls>
        <c:gapWidth val="40"/>
        <c:axId val="1226792208"/>
        <c:axId val="1226797616"/>
      </c:barChart>
      <c:catAx>
        <c:axId val="12267922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7616"/>
        <c:crosses val="autoZero"/>
        <c:auto val="1"/>
        <c:lblAlgn val="ctr"/>
        <c:lblOffset val="100"/>
        <c:noMultiLvlLbl val="0"/>
      </c:catAx>
      <c:valAx>
        <c:axId val="1226797616"/>
        <c:scaling>
          <c:orientation val="minMax"/>
          <c:max val="30"/>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2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percentStacked"/>
        <c:varyColors val="0"/>
        <c:ser>
          <c:idx val="0"/>
          <c:order val="0"/>
          <c:tx>
            <c:strRef>
              <c:f>Sheet1!$B$1</c:f>
              <c:strCache>
                <c:ptCount val="1"/>
                <c:pt idx="0">
                  <c:v>White, Non-Hispanic</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9</c:f>
              <c:strCache>
                <c:ptCount val="18"/>
                <c:pt idx="0">
                  <c:v>Kerr-Tar</c:v>
                </c:pt>
                <c:pt idx="1">
                  <c:v>Upper Coastal Plain</c:v>
                </c:pt>
                <c:pt idx="2">
                  <c:v>Mid-Carolina</c:v>
                </c:pt>
                <c:pt idx="3">
                  <c:v>Isothermal Regional Commission</c:v>
                </c:pt>
                <c:pt idx="4">
                  <c:v>Southwestern Commission</c:v>
                </c:pt>
                <c:pt idx="5">
                  <c:v>Triangle J</c:v>
                </c:pt>
                <c:pt idx="6">
                  <c:v>Eastern Carolina</c:v>
                </c:pt>
                <c:pt idx="7">
                  <c:v>Albemarle Commission</c:v>
                </c:pt>
                <c:pt idx="8">
                  <c:v>Land-of-Sky Regional Council</c:v>
                </c:pt>
                <c:pt idx="9">
                  <c:v>Cape Fear</c:v>
                </c:pt>
                <c:pt idx="10">
                  <c:v>Lumber River</c:v>
                </c:pt>
                <c:pt idx="11">
                  <c:v>Mid-East Commission</c:v>
                </c:pt>
                <c:pt idx="12">
                  <c:v>Centralina Regional Councils</c:v>
                </c:pt>
                <c:pt idx="13">
                  <c:v>High Country</c:v>
                </c:pt>
                <c:pt idx="14">
                  <c:v>Western Piedmont</c:v>
                </c:pt>
                <c:pt idx="15">
                  <c:v>Piedmont Triad</c:v>
                </c:pt>
                <c:pt idx="16">
                  <c:v>North Carolina</c:v>
                </c:pt>
                <c:pt idx="17">
                  <c:v>United States</c:v>
                </c:pt>
              </c:strCache>
            </c:strRef>
          </c:cat>
          <c:val>
            <c:numRef>
              <c:f>Sheet1!$B$2:$B$19</c:f>
              <c:numCache>
                <c:formatCode>#,##0.0</c:formatCode>
                <c:ptCount val="18"/>
                <c:pt idx="0">
                  <c:v>55.201973885322509</c:v>
                </c:pt>
                <c:pt idx="1">
                  <c:v>43.004040800719281</c:v>
                </c:pt>
                <c:pt idx="2">
                  <c:v>47.274216724574437</c:v>
                </c:pt>
                <c:pt idx="3">
                  <c:v>79.01859912940246</c:v>
                </c:pt>
                <c:pt idx="4">
                  <c:v>85.942249614488347</c:v>
                </c:pt>
                <c:pt idx="5">
                  <c:v>58.977786477812366</c:v>
                </c:pt>
                <c:pt idx="6">
                  <c:v>61.942163120065544</c:v>
                </c:pt>
                <c:pt idx="7">
                  <c:v>69.152135397239832</c:v>
                </c:pt>
                <c:pt idx="8">
                  <c:v>83.772622595812678</c:v>
                </c:pt>
                <c:pt idx="9">
                  <c:v>75.808988907360089</c:v>
                </c:pt>
                <c:pt idx="10">
                  <c:v>36.99184950279097</c:v>
                </c:pt>
                <c:pt idx="11">
                  <c:v>52.290642344488994</c:v>
                </c:pt>
                <c:pt idx="12">
                  <c:v>58.608979677617803</c:v>
                </c:pt>
                <c:pt idx="13">
                  <c:v>89.473860509630342</c:v>
                </c:pt>
                <c:pt idx="14">
                  <c:v>79.723029952559358</c:v>
                </c:pt>
                <c:pt idx="15">
                  <c:v>62.497397582996193</c:v>
                </c:pt>
                <c:pt idx="16">
                  <c:v>62.061419373856829</c:v>
                </c:pt>
                <c:pt idx="17">
                  <c:v>59.446533948645595</c:v>
                </c:pt>
              </c:numCache>
            </c:numRef>
          </c:val>
          <c:extLst>
            <c:ext xmlns:c16="http://schemas.microsoft.com/office/drawing/2014/chart" uri="{C3380CC4-5D6E-409C-BE32-E72D297353CC}">
              <c16:uniqueId val="{00000000-D199-47A7-AEEB-A6EADA37F0F5}"/>
            </c:ext>
          </c:extLst>
        </c:ser>
        <c:ser>
          <c:idx val="1"/>
          <c:order val="1"/>
          <c:tx>
            <c:strRef>
              <c:f>Sheet1!$C$1</c:f>
              <c:strCache>
                <c:ptCount val="1"/>
                <c:pt idx="0">
                  <c:v>Black, Non-Hispanic</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9</c:f>
              <c:strCache>
                <c:ptCount val="18"/>
                <c:pt idx="0">
                  <c:v>Kerr-Tar</c:v>
                </c:pt>
                <c:pt idx="1">
                  <c:v>Upper Coastal Plain</c:v>
                </c:pt>
                <c:pt idx="2">
                  <c:v>Mid-Carolina</c:v>
                </c:pt>
                <c:pt idx="3">
                  <c:v>Isothermal Regional Commission</c:v>
                </c:pt>
                <c:pt idx="4">
                  <c:v>Southwestern Commission</c:v>
                </c:pt>
                <c:pt idx="5">
                  <c:v>Triangle J</c:v>
                </c:pt>
                <c:pt idx="6">
                  <c:v>Eastern Carolina</c:v>
                </c:pt>
                <c:pt idx="7">
                  <c:v>Albemarle Commission</c:v>
                </c:pt>
                <c:pt idx="8">
                  <c:v>Land-of-Sky Regional Council</c:v>
                </c:pt>
                <c:pt idx="9">
                  <c:v>Cape Fear</c:v>
                </c:pt>
                <c:pt idx="10">
                  <c:v>Lumber River</c:v>
                </c:pt>
                <c:pt idx="11">
                  <c:v>Mid-East Commission</c:v>
                </c:pt>
                <c:pt idx="12">
                  <c:v>Centralina Regional Councils</c:v>
                </c:pt>
                <c:pt idx="13">
                  <c:v>High Country</c:v>
                </c:pt>
                <c:pt idx="14">
                  <c:v>Western Piedmont</c:v>
                </c:pt>
                <c:pt idx="15">
                  <c:v>Piedmont Triad</c:v>
                </c:pt>
                <c:pt idx="16">
                  <c:v>North Carolina</c:v>
                </c:pt>
                <c:pt idx="17">
                  <c:v>United States</c:v>
                </c:pt>
              </c:strCache>
            </c:strRef>
          </c:cat>
          <c:val>
            <c:numRef>
              <c:f>Sheet1!$C$2:$C$19</c:f>
              <c:numCache>
                <c:formatCode>#,##0.0</c:formatCode>
                <c:ptCount val="18"/>
                <c:pt idx="0">
                  <c:v>32.019738853225036</c:v>
                </c:pt>
                <c:pt idx="1">
                  <c:v>45.793674579470803</c:v>
                </c:pt>
                <c:pt idx="2">
                  <c:v>31.169838289072537</c:v>
                </c:pt>
                <c:pt idx="3">
                  <c:v>12.389746295563469</c:v>
                </c:pt>
                <c:pt idx="4">
                  <c:v>1.2592559748148804</c:v>
                </c:pt>
                <c:pt idx="5">
                  <c:v>20.103259768185715</c:v>
                </c:pt>
                <c:pt idx="6">
                  <c:v>20.845617891663167</c:v>
                </c:pt>
                <c:pt idx="7">
                  <c:v>21.636632786273779</c:v>
                </c:pt>
                <c:pt idx="8">
                  <c:v>4.7678565705678482</c:v>
                </c:pt>
                <c:pt idx="9">
                  <c:v>13.37430538135467</c:v>
                </c:pt>
                <c:pt idx="10">
                  <c:v>29.186098236450515</c:v>
                </c:pt>
                <c:pt idx="11">
                  <c:v>37.432421731587397</c:v>
                </c:pt>
                <c:pt idx="12">
                  <c:v>22.47327529023374</c:v>
                </c:pt>
                <c:pt idx="13">
                  <c:v>2.3146309367149178</c:v>
                </c:pt>
                <c:pt idx="14">
                  <c:v>6.4312083249971908</c:v>
                </c:pt>
                <c:pt idx="15">
                  <c:v>21.424365543710515</c:v>
                </c:pt>
                <c:pt idx="16">
                  <c:v>20.840642568328686</c:v>
                </c:pt>
                <c:pt idx="17">
                  <c:v>12.190838839052297</c:v>
                </c:pt>
              </c:numCache>
            </c:numRef>
          </c:val>
          <c:extLst>
            <c:ext xmlns:c16="http://schemas.microsoft.com/office/drawing/2014/chart" uri="{C3380CC4-5D6E-409C-BE32-E72D297353CC}">
              <c16:uniqueId val="{00000001-D199-47A7-AEEB-A6EADA37F0F5}"/>
            </c:ext>
          </c:extLst>
        </c:ser>
        <c:ser>
          <c:idx val="2"/>
          <c:order val="2"/>
          <c:tx>
            <c:strRef>
              <c:f>Sheet1!$D$1</c:f>
              <c:strCache>
                <c:ptCount val="1"/>
                <c:pt idx="0">
                  <c:v>Asian, Non-Hispanic</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9</c:f>
              <c:strCache>
                <c:ptCount val="18"/>
                <c:pt idx="0">
                  <c:v>Kerr-Tar</c:v>
                </c:pt>
                <c:pt idx="1">
                  <c:v>Upper Coastal Plain</c:v>
                </c:pt>
                <c:pt idx="2">
                  <c:v>Mid-Carolina</c:v>
                </c:pt>
                <c:pt idx="3">
                  <c:v>Isothermal Regional Commission</c:v>
                </c:pt>
                <c:pt idx="4">
                  <c:v>Southwestern Commission</c:v>
                </c:pt>
                <c:pt idx="5">
                  <c:v>Triangle J</c:v>
                </c:pt>
                <c:pt idx="6">
                  <c:v>Eastern Carolina</c:v>
                </c:pt>
                <c:pt idx="7">
                  <c:v>Albemarle Commission</c:v>
                </c:pt>
                <c:pt idx="8">
                  <c:v>Land-of-Sky Regional Council</c:v>
                </c:pt>
                <c:pt idx="9">
                  <c:v>Cape Fear</c:v>
                </c:pt>
                <c:pt idx="10">
                  <c:v>Lumber River</c:v>
                </c:pt>
                <c:pt idx="11">
                  <c:v>Mid-East Commission</c:v>
                </c:pt>
                <c:pt idx="12">
                  <c:v>Centralina Regional Councils</c:v>
                </c:pt>
                <c:pt idx="13">
                  <c:v>High Country</c:v>
                </c:pt>
                <c:pt idx="14">
                  <c:v>Western Piedmont</c:v>
                </c:pt>
                <c:pt idx="15">
                  <c:v>Piedmont Triad</c:v>
                </c:pt>
                <c:pt idx="16">
                  <c:v>North Carolina</c:v>
                </c:pt>
                <c:pt idx="17">
                  <c:v>United States</c:v>
                </c:pt>
              </c:strCache>
            </c:strRef>
          </c:cat>
          <c:val>
            <c:numRef>
              <c:f>Sheet1!$D$2:$D$19</c:f>
              <c:numCache>
                <c:formatCode>#,##0.0</c:formatCode>
                <c:ptCount val="18"/>
                <c:pt idx="0">
                  <c:v>0.59041879558059296</c:v>
                </c:pt>
                <c:pt idx="1">
                  <c:v>0.75579853180795697</c:v>
                </c:pt>
                <c:pt idx="2">
                  <c:v>1.8894785259748654</c:v>
                </c:pt>
                <c:pt idx="3">
                  <c:v>0.79892714241744711</c:v>
                </c:pt>
                <c:pt idx="4">
                  <c:v>0.66066598678668031</c:v>
                </c:pt>
                <c:pt idx="5">
                  <c:v>5.6786955602047051</c:v>
                </c:pt>
                <c:pt idx="6">
                  <c:v>1.4993057750396643</c:v>
                </c:pt>
                <c:pt idx="7">
                  <c:v>0.75648079074972019</c:v>
                </c:pt>
                <c:pt idx="8">
                  <c:v>1.1068074956162639</c:v>
                </c:pt>
                <c:pt idx="9">
                  <c:v>0.92133962015467619</c:v>
                </c:pt>
                <c:pt idx="10">
                  <c:v>0.80285267402316007</c:v>
                </c:pt>
                <c:pt idx="11">
                  <c:v>1.2910958657577045</c:v>
                </c:pt>
                <c:pt idx="12">
                  <c:v>4.207081199771447</c:v>
                </c:pt>
                <c:pt idx="13">
                  <c:v>0.67615743509989235</c:v>
                </c:pt>
                <c:pt idx="14">
                  <c:v>3.0533577068436761</c:v>
                </c:pt>
                <c:pt idx="15">
                  <c:v>2.6430175926273018</c:v>
                </c:pt>
                <c:pt idx="16">
                  <c:v>3.0106138484127842</c:v>
                </c:pt>
                <c:pt idx="17">
                  <c:v>5.6273166828741399</c:v>
                </c:pt>
              </c:numCache>
            </c:numRef>
          </c:val>
          <c:extLst>
            <c:ext xmlns:c16="http://schemas.microsoft.com/office/drawing/2014/chart" uri="{C3380CC4-5D6E-409C-BE32-E72D297353CC}">
              <c16:uniqueId val="{00000002-D199-47A7-AEEB-A6EADA37F0F5}"/>
            </c:ext>
          </c:extLst>
        </c:ser>
        <c:ser>
          <c:idx val="3"/>
          <c:order val="3"/>
          <c:tx>
            <c:strRef>
              <c:f>Sheet1!$E$1</c:f>
              <c:strCache>
                <c:ptCount val="1"/>
                <c:pt idx="0">
                  <c:v>Hispanic</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9</c:f>
              <c:strCache>
                <c:ptCount val="18"/>
                <c:pt idx="0">
                  <c:v>Kerr-Tar</c:v>
                </c:pt>
                <c:pt idx="1">
                  <c:v>Upper Coastal Plain</c:v>
                </c:pt>
                <c:pt idx="2">
                  <c:v>Mid-Carolina</c:v>
                </c:pt>
                <c:pt idx="3">
                  <c:v>Isothermal Regional Commission</c:v>
                </c:pt>
                <c:pt idx="4">
                  <c:v>Southwestern Commission</c:v>
                </c:pt>
                <c:pt idx="5">
                  <c:v>Triangle J</c:v>
                </c:pt>
                <c:pt idx="6">
                  <c:v>Eastern Carolina</c:v>
                </c:pt>
                <c:pt idx="7">
                  <c:v>Albemarle Commission</c:v>
                </c:pt>
                <c:pt idx="8">
                  <c:v>Land-of-Sky Regional Council</c:v>
                </c:pt>
                <c:pt idx="9">
                  <c:v>Cape Fear</c:v>
                </c:pt>
                <c:pt idx="10">
                  <c:v>Lumber River</c:v>
                </c:pt>
                <c:pt idx="11">
                  <c:v>Mid-East Commission</c:v>
                </c:pt>
                <c:pt idx="12">
                  <c:v>Centralina Regional Councils</c:v>
                </c:pt>
                <c:pt idx="13">
                  <c:v>High Country</c:v>
                </c:pt>
                <c:pt idx="14">
                  <c:v>Western Piedmont</c:v>
                </c:pt>
                <c:pt idx="15">
                  <c:v>Piedmont Triad</c:v>
                </c:pt>
                <c:pt idx="16">
                  <c:v>North Carolina</c:v>
                </c:pt>
                <c:pt idx="17">
                  <c:v>United States</c:v>
                </c:pt>
              </c:strCache>
            </c:strRef>
          </c:cat>
          <c:val>
            <c:numRef>
              <c:f>Sheet1!$E$2:$E$19</c:f>
              <c:numCache>
                <c:formatCode>#,##0.0</c:formatCode>
                <c:ptCount val="18"/>
                <c:pt idx="0">
                  <c:v>7.6125595004148661</c:v>
                </c:pt>
                <c:pt idx="1">
                  <c:v>6.88451853153237</c:v>
                </c:pt>
                <c:pt idx="2">
                  <c:v>13.461655427237684</c:v>
                </c:pt>
                <c:pt idx="3">
                  <c:v>4.8304972958712566</c:v>
                </c:pt>
                <c:pt idx="4">
                  <c:v>5.2035452292624287</c:v>
                </c:pt>
                <c:pt idx="5">
                  <c:v>11.326968392412759</c:v>
                </c:pt>
                <c:pt idx="6">
                  <c:v>11.307926114966168</c:v>
                </c:pt>
                <c:pt idx="7">
                  <c:v>5.4498088399850806</c:v>
                </c:pt>
                <c:pt idx="8">
                  <c:v>7.3690258720544275</c:v>
                </c:pt>
                <c:pt idx="9">
                  <c:v>5.8224667412128355</c:v>
                </c:pt>
                <c:pt idx="10">
                  <c:v>8.807344057168276</c:v>
                </c:pt>
                <c:pt idx="11">
                  <c:v>6.1574510664948567</c:v>
                </c:pt>
                <c:pt idx="12">
                  <c:v>11.298219958098631</c:v>
                </c:pt>
                <c:pt idx="13">
                  <c:v>5.6915899030984569</c:v>
                </c:pt>
                <c:pt idx="14">
                  <c:v>7.8377096939516608</c:v>
                </c:pt>
                <c:pt idx="15">
                  <c:v>10.160528038339873</c:v>
                </c:pt>
                <c:pt idx="16">
                  <c:v>9.8073487256031662</c:v>
                </c:pt>
                <c:pt idx="17">
                  <c:v>18.441695441790866</c:v>
                </c:pt>
              </c:numCache>
            </c:numRef>
          </c:val>
          <c:extLst>
            <c:ext xmlns:c16="http://schemas.microsoft.com/office/drawing/2014/chart" uri="{C3380CC4-5D6E-409C-BE32-E72D297353CC}">
              <c16:uniqueId val="{00000003-D199-47A7-AEEB-A6EADA37F0F5}"/>
            </c:ext>
          </c:extLst>
        </c:ser>
        <c:ser>
          <c:idx val="4"/>
          <c:order val="4"/>
          <c:tx>
            <c:strRef>
              <c:f>Sheet1!$F$1</c:f>
              <c:strCache>
                <c:ptCount val="1"/>
                <c:pt idx="0">
                  <c:v>Other</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9</c:f>
              <c:strCache>
                <c:ptCount val="18"/>
                <c:pt idx="0">
                  <c:v>Kerr-Tar</c:v>
                </c:pt>
                <c:pt idx="1">
                  <c:v>Upper Coastal Plain</c:v>
                </c:pt>
                <c:pt idx="2">
                  <c:v>Mid-Carolina</c:v>
                </c:pt>
                <c:pt idx="3">
                  <c:v>Isothermal Regional Commission</c:v>
                </c:pt>
                <c:pt idx="4">
                  <c:v>Southwestern Commission</c:v>
                </c:pt>
                <c:pt idx="5">
                  <c:v>Triangle J</c:v>
                </c:pt>
                <c:pt idx="6">
                  <c:v>Eastern Carolina</c:v>
                </c:pt>
                <c:pt idx="7">
                  <c:v>Albemarle Commission</c:v>
                </c:pt>
                <c:pt idx="8">
                  <c:v>Land-of-Sky Regional Council</c:v>
                </c:pt>
                <c:pt idx="9">
                  <c:v>Cape Fear</c:v>
                </c:pt>
                <c:pt idx="10">
                  <c:v>Lumber River</c:v>
                </c:pt>
                <c:pt idx="11">
                  <c:v>Mid-East Commission</c:v>
                </c:pt>
                <c:pt idx="12">
                  <c:v>Centralina Regional Councils</c:v>
                </c:pt>
                <c:pt idx="13">
                  <c:v>High Country</c:v>
                </c:pt>
                <c:pt idx="14">
                  <c:v>Western Piedmont</c:v>
                </c:pt>
                <c:pt idx="15">
                  <c:v>Piedmont Triad</c:v>
                </c:pt>
                <c:pt idx="16">
                  <c:v>North Carolina</c:v>
                </c:pt>
                <c:pt idx="17">
                  <c:v>United States</c:v>
                </c:pt>
              </c:strCache>
            </c:strRef>
          </c:cat>
          <c:val>
            <c:numRef>
              <c:f>Sheet1!$F$2:$F$19</c:f>
              <c:numCache>
                <c:formatCode>#,##0.0</c:formatCode>
                <c:ptCount val="18"/>
                <c:pt idx="0">
                  <c:v>4.5753089654569976</c:v>
                </c:pt>
                <c:pt idx="1">
                  <c:v>3.5619675564695967</c:v>
                </c:pt>
                <c:pt idx="2">
                  <c:v>6.2048110331404729</c:v>
                </c:pt>
                <c:pt idx="3">
                  <c:v>2.9622301367453758</c:v>
                </c:pt>
                <c:pt idx="4">
                  <c:v>6.9342831946476622</c:v>
                </c:pt>
                <c:pt idx="5">
                  <c:v>3.913289801384451</c:v>
                </c:pt>
                <c:pt idx="6">
                  <c:v>4.4049870982654653</c:v>
                </c:pt>
                <c:pt idx="7">
                  <c:v>3.0049421857515881</c:v>
                </c:pt>
                <c:pt idx="8">
                  <c:v>2.9836874659487904</c:v>
                </c:pt>
                <c:pt idx="9">
                  <c:v>4.0728993499177193</c:v>
                </c:pt>
                <c:pt idx="10">
                  <c:v>24.211855529567075</c:v>
                </c:pt>
                <c:pt idx="11">
                  <c:v>2.8283889916710478</c:v>
                </c:pt>
                <c:pt idx="12">
                  <c:v>3.4124438742783809</c:v>
                </c:pt>
                <c:pt idx="13">
                  <c:v>1.8437612154563823</c:v>
                </c:pt>
                <c:pt idx="14">
                  <c:v>2.9546943216481196</c:v>
                </c:pt>
                <c:pt idx="15">
                  <c:v>3.2746912423261136</c:v>
                </c:pt>
                <c:pt idx="16">
                  <c:v>4.2799754837985375</c:v>
                </c:pt>
                <c:pt idx="17">
                  <c:v>4.2936150876370931</c:v>
                </c:pt>
              </c:numCache>
            </c:numRef>
          </c:val>
          <c:extLst>
            <c:ext xmlns:c16="http://schemas.microsoft.com/office/drawing/2014/chart" uri="{C3380CC4-5D6E-409C-BE32-E72D297353CC}">
              <c16:uniqueId val="{00000004-D199-47A7-AEEB-A6EADA37F0F5}"/>
            </c:ext>
          </c:extLst>
        </c:ser>
        <c:dLbls>
          <c:showLegendKey val="0"/>
          <c:showVal val="0"/>
          <c:showCatName val="0"/>
          <c:showSerName val="0"/>
          <c:showPercent val="0"/>
          <c:showBubbleSize val="0"/>
        </c:dLbls>
        <c:gapWidth val="60"/>
        <c:overlap val="100"/>
        <c:axId val="979383072"/>
        <c:axId val="979383488"/>
      </c:barChart>
      <c:catAx>
        <c:axId val="979383072"/>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979383488"/>
        <c:crosses val="autoZero"/>
        <c:auto val="1"/>
        <c:lblAlgn val="ctr"/>
        <c:lblOffset val="100"/>
        <c:noMultiLvlLbl val="0"/>
      </c:catAx>
      <c:valAx>
        <c:axId val="979383488"/>
        <c:scaling>
          <c:orientation val="minMax"/>
        </c:scaling>
        <c:delete val="0"/>
        <c:axPos val="b"/>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97938307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9</c:f>
              <c:strCache>
                <c:ptCount val="18"/>
                <c:pt idx="0">
                  <c:v>Kerr-Tar</c:v>
                </c:pt>
                <c:pt idx="1">
                  <c:v>Upper Coastal Plain</c:v>
                </c:pt>
                <c:pt idx="2">
                  <c:v>Mid-Carolina</c:v>
                </c:pt>
                <c:pt idx="3">
                  <c:v>Isothermal</c:v>
                </c:pt>
                <c:pt idx="4">
                  <c:v>Southwestern Commission</c:v>
                </c:pt>
                <c:pt idx="5">
                  <c:v>Triangle J</c:v>
                </c:pt>
                <c:pt idx="6">
                  <c:v>Eastern Carolina</c:v>
                </c:pt>
                <c:pt idx="7">
                  <c:v>Albemarle Commission</c:v>
                </c:pt>
                <c:pt idx="8">
                  <c:v>Land-of-Sky Regional Council</c:v>
                </c:pt>
                <c:pt idx="9">
                  <c:v>Cape Fear</c:v>
                </c:pt>
                <c:pt idx="10">
                  <c:v>Lumber River</c:v>
                </c:pt>
                <c:pt idx="11">
                  <c:v>Mid-East Commission</c:v>
                </c:pt>
                <c:pt idx="12">
                  <c:v>Centralina Regional Councils</c:v>
                </c:pt>
                <c:pt idx="13">
                  <c:v>High Country</c:v>
                </c:pt>
                <c:pt idx="14">
                  <c:v>Western Piedmont</c:v>
                </c:pt>
                <c:pt idx="15">
                  <c:v>Piedmont Triad</c:v>
                </c:pt>
                <c:pt idx="16">
                  <c:v>North Carolina</c:v>
                </c:pt>
                <c:pt idx="17">
                  <c:v>United States</c:v>
                </c:pt>
              </c:strCache>
            </c:strRef>
          </c:cat>
          <c:val>
            <c:numRef>
              <c:f>Sheet1!$B$2:$B$19</c:f>
              <c:numCache>
                <c:formatCode>0.0</c:formatCode>
                <c:ptCount val="18"/>
                <c:pt idx="0">
                  <c:v>4.3905847416917769</c:v>
                </c:pt>
                <c:pt idx="1">
                  <c:v>4.0259878948220562</c:v>
                </c:pt>
                <c:pt idx="2">
                  <c:v>6.7478389124997147</c:v>
                </c:pt>
                <c:pt idx="3">
                  <c:v>3.0470914127423825</c:v>
                </c:pt>
                <c:pt idx="4">
                  <c:v>3.2604679347906416</c:v>
                </c:pt>
                <c:pt idx="5">
                  <c:v>12.235607017246284</c:v>
                </c:pt>
                <c:pt idx="6">
                  <c:v>5.2224900583526352</c:v>
                </c:pt>
                <c:pt idx="7">
                  <c:v>3.0096046251398731</c:v>
                </c:pt>
                <c:pt idx="8">
                  <c:v>5.8588688816551517</c:v>
                </c:pt>
                <c:pt idx="9">
                  <c:v>4.1086134837862085</c:v>
                </c:pt>
                <c:pt idx="10">
                  <c:v>4.2000889666948868</c:v>
                </c:pt>
                <c:pt idx="11">
                  <c:v>4.0190622907863194</c:v>
                </c:pt>
                <c:pt idx="12">
                  <c:v>11.250320171108196</c:v>
                </c:pt>
                <c:pt idx="13">
                  <c:v>3.3731307572676159</c:v>
                </c:pt>
                <c:pt idx="14">
                  <c:v>5.1526952918380715</c:v>
                </c:pt>
                <c:pt idx="15">
                  <c:v>7.962732811792625</c:v>
                </c:pt>
                <c:pt idx="16">
                  <c:v>8.1999999999999993</c:v>
                </c:pt>
                <c:pt idx="17">
                  <c:v>13.6</c:v>
                </c:pt>
              </c:numCache>
            </c:numRef>
          </c:val>
          <c:extLst>
            <c:ext xmlns:c16="http://schemas.microsoft.com/office/drawing/2014/chart" uri="{C3380CC4-5D6E-409C-BE32-E72D297353CC}">
              <c16:uniqueId val="{00000000-0240-4B3F-B5E3-376742615FEB}"/>
            </c:ext>
          </c:extLst>
        </c:ser>
        <c:dLbls>
          <c:showLegendKey val="0"/>
          <c:showVal val="0"/>
          <c:showCatName val="0"/>
          <c:showSerName val="0"/>
          <c:showPercent val="0"/>
          <c:showBubbleSize val="0"/>
        </c:dLbls>
        <c:gapWidth val="40"/>
        <c:axId val="1226792208"/>
        <c:axId val="1226797616"/>
      </c:barChart>
      <c:catAx>
        <c:axId val="12267922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7616"/>
        <c:crosses val="autoZero"/>
        <c:auto val="1"/>
        <c:lblAlgn val="ctr"/>
        <c:lblOffset val="100"/>
        <c:noMultiLvlLbl val="0"/>
      </c:catAx>
      <c:valAx>
        <c:axId val="1226797616"/>
        <c:scaling>
          <c:orientation val="minMax"/>
          <c:max val="30"/>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2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9</c:f>
              <c:strCache>
                <c:ptCount val="18"/>
                <c:pt idx="0">
                  <c:v>Kerr-Tar</c:v>
                </c:pt>
                <c:pt idx="1">
                  <c:v>Upper Coastal Plain</c:v>
                </c:pt>
                <c:pt idx="2">
                  <c:v>Mid-Carolina</c:v>
                </c:pt>
                <c:pt idx="3">
                  <c:v>Isothermal</c:v>
                </c:pt>
                <c:pt idx="4">
                  <c:v>Southwestern Commission</c:v>
                </c:pt>
                <c:pt idx="5">
                  <c:v>Triangle J</c:v>
                </c:pt>
                <c:pt idx="6">
                  <c:v>Eastern Carolina</c:v>
                </c:pt>
                <c:pt idx="7">
                  <c:v>Albemarle Commission</c:v>
                </c:pt>
                <c:pt idx="8">
                  <c:v>Land-of-Sky Regional Council</c:v>
                </c:pt>
                <c:pt idx="9">
                  <c:v>Cape Fear</c:v>
                </c:pt>
                <c:pt idx="10">
                  <c:v>Lumber River</c:v>
                </c:pt>
                <c:pt idx="11">
                  <c:v>Mid-East Commission</c:v>
                </c:pt>
                <c:pt idx="12">
                  <c:v>Centralina Regional Councils</c:v>
                </c:pt>
                <c:pt idx="13">
                  <c:v>High Country</c:v>
                </c:pt>
                <c:pt idx="14">
                  <c:v>Western Piedmont</c:v>
                </c:pt>
                <c:pt idx="15">
                  <c:v>Piedmont Triad</c:v>
                </c:pt>
                <c:pt idx="16">
                  <c:v>North Carolina</c:v>
                </c:pt>
                <c:pt idx="17">
                  <c:v>United States</c:v>
                </c:pt>
              </c:strCache>
            </c:strRef>
          </c:cat>
          <c:val>
            <c:numRef>
              <c:f>Sheet1!$B$2:$B$19</c:f>
              <c:numCache>
                <c:formatCode>0.0</c:formatCode>
                <c:ptCount val="18"/>
                <c:pt idx="0">
                  <c:v>5.6135637377623091</c:v>
                </c:pt>
                <c:pt idx="1">
                  <c:v>11.560936842597354</c:v>
                </c:pt>
                <c:pt idx="2">
                  <c:v>6.7476006518983525</c:v>
                </c:pt>
                <c:pt idx="3">
                  <c:v>10.405137087575515</c:v>
                </c:pt>
                <c:pt idx="4">
                  <c:v>9.1071379528164567</c:v>
                </c:pt>
                <c:pt idx="5">
                  <c:v>4.6254747775758567</c:v>
                </c:pt>
                <c:pt idx="6">
                  <c:v>5.0745496974693625</c:v>
                </c:pt>
                <c:pt idx="7">
                  <c:v>6.1047333597240288</c:v>
                </c:pt>
                <c:pt idx="8">
                  <c:v>6.1175325161644656</c:v>
                </c:pt>
                <c:pt idx="9">
                  <c:v>6.3415659976166552</c:v>
                </c:pt>
                <c:pt idx="10">
                  <c:v>11.917537831712846</c:v>
                </c:pt>
                <c:pt idx="11">
                  <c:v>6.2038507863913281</c:v>
                </c:pt>
                <c:pt idx="12">
                  <c:v>3.7809022283327711</c:v>
                </c:pt>
                <c:pt idx="13">
                  <c:v>5.6949915588069775</c:v>
                </c:pt>
                <c:pt idx="14">
                  <c:v>4.6228355337358185</c:v>
                </c:pt>
                <c:pt idx="15">
                  <c:v>6.6121840560184078</c:v>
                </c:pt>
                <c:pt idx="16">
                  <c:v>5.7</c:v>
                </c:pt>
                <c:pt idx="17">
                  <c:v>5</c:v>
                </c:pt>
              </c:numCache>
            </c:numRef>
          </c:val>
          <c:extLst>
            <c:ext xmlns:c16="http://schemas.microsoft.com/office/drawing/2014/chart" uri="{C3380CC4-5D6E-409C-BE32-E72D297353CC}">
              <c16:uniqueId val="{00000000-0240-4B3F-B5E3-376742615FEB}"/>
            </c:ext>
          </c:extLst>
        </c:ser>
        <c:dLbls>
          <c:showLegendKey val="0"/>
          <c:showVal val="0"/>
          <c:showCatName val="0"/>
          <c:showSerName val="0"/>
          <c:showPercent val="0"/>
          <c:showBubbleSize val="0"/>
        </c:dLbls>
        <c:gapWidth val="40"/>
        <c:axId val="1226792208"/>
        <c:axId val="1226797616"/>
      </c:barChart>
      <c:catAx>
        <c:axId val="12267922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7616"/>
        <c:crosses val="autoZero"/>
        <c:auto val="1"/>
        <c:lblAlgn val="ctr"/>
        <c:lblOffset val="100"/>
        <c:noMultiLvlLbl val="0"/>
      </c:catAx>
      <c:valAx>
        <c:axId val="1226797616"/>
        <c:scaling>
          <c:orientation val="minMax"/>
          <c:max val="30"/>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2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9</c:f>
              <c:strCache>
                <c:ptCount val="18"/>
                <c:pt idx="0">
                  <c:v>Kerr-Tar</c:v>
                </c:pt>
                <c:pt idx="1">
                  <c:v>Upper Coastal Plain</c:v>
                </c:pt>
                <c:pt idx="2">
                  <c:v>Mid-Carolina</c:v>
                </c:pt>
                <c:pt idx="3">
                  <c:v>Isothermal</c:v>
                </c:pt>
                <c:pt idx="4">
                  <c:v>Southwestern Commission</c:v>
                </c:pt>
                <c:pt idx="5">
                  <c:v>Triangle J</c:v>
                </c:pt>
                <c:pt idx="6">
                  <c:v>Eastern Carolina</c:v>
                </c:pt>
                <c:pt idx="7">
                  <c:v>Albemarle Commission</c:v>
                </c:pt>
                <c:pt idx="8">
                  <c:v>Land-of-Sky Regional Council</c:v>
                </c:pt>
                <c:pt idx="9">
                  <c:v>Cape Fear</c:v>
                </c:pt>
                <c:pt idx="10">
                  <c:v>Lumber River</c:v>
                </c:pt>
                <c:pt idx="11">
                  <c:v>Mid-East Commission</c:v>
                </c:pt>
                <c:pt idx="12">
                  <c:v>Centralina Regional Councils</c:v>
                </c:pt>
                <c:pt idx="13">
                  <c:v>High Country</c:v>
                </c:pt>
                <c:pt idx="14">
                  <c:v>Western Piedmont</c:v>
                </c:pt>
                <c:pt idx="15">
                  <c:v>Piedmont Triad</c:v>
                </c:pt>
                <c:pt idx="16">
                  <c:v>North Carolina</c:v>
                </c:pt>
                <c:pt idx="17">
                  <c:v>United States</c:v>
                </c:pt>
              </c:strCache>
            </c:strRef>
          </c:cat>
          <c:val>
            <c:numRef>
              <c:f>Sheet1!$B$2:$B$19</c:f>
              <c:numCache>
                <c:formatCode>0.0</c:formatCode>
                <c:ptCount val="18"/>
                <c:pt idx="0">
                  <c:v>19.111154714019424</c:v>
                </c:pt>
                <c:pt idx="1">
                  <c:v>25.036347775516138</c:v>
                </c:pt>
                <c:pt idx="2">
                  <c:v>18.716804115911327</c:v>
                </c:pt>
                <c:pt idx="3">
                  <c:v>21.158997364925195</c:v>
                </c:pt>
                <c:pt idx="4">
                  <c:v>19.03417683234197</c:v>
                </c:pt>
                <c:pt idx="5">
                  <c:v>10.04755757359924</c:v>
                </c:pt>
                <c:pt idx="6">
                  <c:v>17.601554945645272</c:v>
                </c:pt>
                <c:pt idx="7">
                  <c:v>17.530532343832174</c:v>
                </c:pt>
                <c:pt idx="8">
                  <c:v>15.365581434528073</c:v>
                </c:pt>
                <c:pt idx="9">
                  <c:v>10.055750770499206</c:v>
                </c:pt>
                <c:pt idx="10">
                  <c:v>26.262173697738582</c:v>
                </c:pt>
                <c:pt idx="11">
                  <c:v>20.753168793591158</c:v>
                </c:pt>
                <c:pt idx="12">
                  <c:v>12.891793482083939</c:v>
                </c:pt>
                <c:pt idx="13">
                  <c:v>21.713808438113727</c:v>
                </c:pt>
                <c:pt idx="14">
                  <c:v>22.338474180815002</c:v>
                </c:pt>
                <c:pt idx="15">
                  <c:v>17.232672992619722</c:v>
                </c:pt>
                <c:pt idx="16">
                  <c:v>15.9</c:v>
                </c:pt>
                <c:pt idx="17">
                  <c:v>13.5</c:v>
                </c:pt>
              </c:numCache>
            </c:numRef>
          </c:val>
          <c:extLst>
            <c:ext xmlns:c16="http://schemas.microsoft.com/office/drawing/2014/chart" uri="{C3380CC4-5D6E-409C-BE32-E72D297353CC}">
              <c16:uniqueId val="{00000000-0240-4B3F-B5E3-376742615FEB}"/>
            </c:ext>
          </c:extLst>
        </c:ser>
        <c:dLbls>
          <c:showLegendKey val="0"/>
          <c:showVal val="0"/>
          <c:showCatName val="0"/>
          <c:showSerName val="0"/>
          <c:showPercent val="0"/>
          <c:showBubbleSize val="0"/>
        </c:dLbls>
        <c:gapWidth val="40"/>
        <c:axId val="1226792208"/>
        <c:axId val="1226797616"/>
      </c:barChart>
      <c:catAx>
        <c:axId val="12267922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7616"/>
        <c:crosses val="autoZero"/>
        <c:auto val="1"/>
        <c:lblAlgn val="ctr"/>
        <c:lblOffset val="100"/>
        <c:noMultiLvlLbl val="0"/>
      </c:catAx>
      <c:valAx>
        <c:axId val="1226797616"/>
        <c:scaling>
          <c:orientation val="minMax"/>
          <c:max val="30"/>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2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9</c:f>
              <c:strCache>
                <c:ptCount val="18"/>
                <c:pt idx="0">
                  <c:v>Kerr-Tar</c:v>
                </c:pt>
                <c:pt idx="1">
                  <c:v>Upper Coastal Plain</c:v>
                </c:pt>
                <c:pt idx="2">
                  <c:v>Mid-Carolina</c:v>
                </c:pt>
                <c:pt idx="3">
                  <c:v>Isothermal</c:v>
                </c:pt>
                <c:pt idx="4">
                  <c:v>Southwestern Commission</c:v>
                </c:pt>
                <c:pt idx="5">
                  <c:v>Triangle J</c:v>
                </c:pt>
                <c:pt idx="6">
                  <c:v>Eastern Carolina</c:v>
                </c:pt>
                <c:pt idx="7">
                  <c:v>Albemarle Commission</c:v>
                </c:pt>
                <c:pt idx="8">
                  <c:v>Land-of-Sky Regional Council</c:v>
                </c:pt>
                <c:pt idx="9">
                  <c:v>Cape Fear</c:v>
                </c:pt>
                <c:pt idx="10">
                  <c:v>Lumber River</c:v>
                </c:pt>
                <c:pt idx="11">
                  <c:v>Mid-East Commission</c:v>
                </c:pt>
                <c:pt idx="12">
                  <c:v>Centralina Regional Councils</c:v>
                </c:pt>
                <c:pt idx="13">
                  <c:v>High Country</c:v>
                </c:pt>
                <c:pt idx="14">
                  <c:v>Western Piedmont</c:v>
                </c:pt>
                <c:pt idx="15">
                  <c:v>Piedmont Triad</c:v>
                </c:pt>
                <c:pt idx="16">
                  <c:v>North Carolina</c:v>
                </c:pt>
                <c:pt idx="17">
                  <c:v>United States</c:v>
                </c:pt>
              </c:strCache>
            </c:strRef>
          </c:cat>
          <c:val>
            <c:numRef>
              <c:f>Sheet1!$B$2:$B$19</c:f>
              <c:numCache>
                <c:formatCode>0.0</c:formatCode>
                <c:ptCount val="18"/>
                <c:pt idx="0">
                  <c:v>5.7871061437239026</c:v>
                </c:pt>
                <c:pt idx="1">
                  <c:v>4.7552824114357959</c:v>
                </c:pt>
                <c:pt idx="2">
                  <c:v>4.6333871613423394</c:v>
                </c:pt>
                <c:pt idx="3">
                  <c:v>5.2508044168858774</c:v>
                </c:pt>
                <c:pt idx="4">
                  <c:v>4.3276743147974317</c:v>
                </c:pt>
                <c:pt idx="5">
                  <c:v>7.9362203596203962</c:v>
                </c:pt>
                <c:pt idx="6">
                  <c:v>5.1287219610037349</c:v>
                </c:pt>
                <c:pt idx="7">
                  <c:v>7.0665268883678793</c:v>
                </c:pt>
                <c:pt idx="8">
                  <c:v>6.3996115299724687</c:v>
                </c:pt>
                <c:pt idx="9">
                  <c:v>5.3830155135134747</c:v>
                </c:pt>
                <c:pt idx="10">
                  <c:v>4.8816123488301271</c:v>
                </c:pt>
                <c:pt idx="11">
                  <c:v>4.4950511739851109</c:v>
                </c:pt>
                <c:pt idx="12">
                  <c:v>8.6512533416609028</c:v>
                </c:pt>
                <c:pt idx="13">
                  <c:v>5.3973177655318967</c:v>
                </c:pt>
                <c:pt idx="14">
                  <c:v>6.2741524998425202</c:v>
                </c:pt>
                <c:pt idx="15">
                  <c:v>5.826986878610545</c:v>
                </c:pt>
                <c:pt idx="16">
                  <c:v>6.8</c:v>
                </c:pt>
                <c:pt idx="17">
                  <c:v>6.8</c:v>
                </c:pt>
              </c:numCache>
            </c:numRef>
          </c:val>
          <c:extLst>
            <c:ext xmlns:c16="http://schemas.microsoft.com/office/drawing/2014/chart" uri="{C3380CC4-5D6E-409C-BE32-E72D297353CC}">
              <c16:uniqueId val="{00000000-0240-4B3F-B5E3-376742615FEB}"/>
            </c:ext>
          </c:extLst>
        </c:ser>
        <c:dLbls>
          <c:showLegendKey val="0"/>
          <c:showVal val="0"/>
          <c:showCatName val="0"/>
          <c:showSerName val="0"/>
          <c:showPercent val="0"/>
          <c:showBubbleSize val="0"/>
        </c:dLbls>
        <c:gapWidth val="40"/>
        <c:axId val="1226792208"/>
        <c:axId val="1226797616"/>
      </c:barChart>
      <c:catAx>
        <c:axId val="12267922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7616"/>
        <c:crosses val="autoZero"/>
        <c:auto val="1"/>
        <c:lblAlgn val="ctr"/>
        <c:lblOffset val="100"/>
        <c:noMultiLvlLbl val="0"/>
      </c:catAx>
      <c:valAx>
        <c:axId val="1226797616"/>
        <c:scaling>
          <c:orientation val="minMax"/>
          <c:max val="30"/>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2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9</c:f>
              <c:strCache>
                <c:ptCount val="18"/>
                <c:pt idx="0">
                  <c:v>Kerr-Tar</c:v>
                </c:pt>
                <c:pt idx="1">
                  <c:v>Upper Coastal Plain</c:v>
                </c:pt>
                <c:pt idx="2">
                  <c:v>Mid-Carolina</c:v>
                </c:pt>
                <c:pt idx="3">
                  <c:v>Isothermal</c:v>
                </c:pt>
                <c:pt idx="4">
                  <c:v>Southwestern Commission</c:v>
                </c:pt>
                <c:pt idx="5">
                  <c:v>Triangle J</c:v>
                </c:pt>
                <c:pt idx="6">
                  <c:v>Eastern Carolina</c:v>
                </c:pt>
                <c:pt idx="7">
                  <c:v>Albemarle Commission</c:v>
                </c:pt>
                <c:pt idx="8">
                  <c:v>Land-of-Sky Regional Council</c:v>
                </c:pt>
                <c:pt idx="9">
                  <c:v>Cape Fear</c:v>
                </c:pt>
                <c:pt idx="10">
                  <c:v>Lumber River</c:v>
                </c:pt>
                <c:pt idx="11">
                  <c:v>Mid-East Commission</c:v>
                </c:pt>
                <c:pt idx="12">
                  <c:v>Centralina Regional Councils</c:v>
                </c:pt>
                <c:pt idx="13">
                  <c:v>High Country</c:v>
                </c:pt>
                <c:pt idx="14">
                  <c:v>Western Piedmont</c:v>
                </c:pt>
                <c:pt idx="15">
                  <c:v>Piedmont Triad</c:v>
                </c:pt>
                <c:pt idx="16">
                  <c:v>North Carolina</c:v>
                </c:pt>
                <c:pt idx="17">
                  <c:v>United States</c:v>
                </c:pt>
              </c:strCache>
            </c:strRef>
          </c:cat>
          <c:val>
            <c:numRef>
              <c:f>Sheet1!$B$2:$B$19</c:f>
              <c:numCache>
                <c:formatCode>0.0</c:formatCode>
                <c:ptCount val="18"/>
                <c:pt idx="0">
                  <c:v>29.440995227725526</c:v>
                </c:pt>
                <c:pt idx="1">
                  <c:v>57.115063445877311</c:v>
                </c:pt>
                <c:pt idx="2">
                  <c:v>19.240985148361357</c:v>
                </c:pt>
                <c:pt idx="3">
                  <c:v>51.122546003691482</c:v>
                </c:pt>
                <c:pt idx="4">
                  <c:v>48.444695806738302</c:v>
                </c:pt>
                <c:pt idx="5">
                  <c:v>6.6055375072887239</c:v>
                </c:pt>
                <c:pt idx="6">
                  <c:v>25.198963916851874</c:v>
                </c:pt>
                <c:pt idx="7">
                  <c:v>25.837840931856558</c:v>
                </c:pt>
                <c:pt idx="8">
                  <c:v>19.710924022993119</c:v>
                </c:pt>
                <c:pt idx="9">
                  <c:v>13.53703169372352</c:v>
                </c:pt>
                <c:pt idx="10">
                  <c:v>68.390298567197632</c:v>
                </c:pt>
                <c:pt idx="11">
                  <c:v>32.59531842735521</c:v>
                </c:pt>
                <c:pt idx="12">
                  <c:v>12.54656628279186</c:v>
                </c:pt>
                <c:pt idx="13">
                  <c:v>18.031976846786431</c:v>
                </c:pt>
                <c:pt idx="14">
                  <c:v>33.773358118212691</c:v>
                </c:pt>
                <c:pt idx="15">
                  <c:v>21.520246741617751</c:v>
                </c:pt>
                <c:pt idx="16">
                  <c:v>20.7</c:v>
                </c:pt>
                <c:pt idx="17">
                  <c:v>21.1</c:v>
                </c:pt>
              </c:numCache>
            </c:numRef>
          </c:val>
          <c:extLst>
            <c:ext xmlns:c16="http://schemas.microsoft.com/office/drawing/2014/chart" uri="{C3380CC4-5D6E-409C-BE32-E72D297353CC}">
              <c16:uniqueId val="{00000000-0240-4B3F-B5E3-376742615FEB}"/>
            </c:ext>
          </c:extLst>
        </c:ser>
        <c:dLbls>
          <c:showLegendKey val="0"/>
          <c:showVal val="0"/>
          <c:showCatName val="0"/>
          <c:showSerName val="0"/>
          <c:showPercent val="0"/>
          <c:showBubbleSize val="0"/>
        </c:dLbls>
        <c:gapWidth val="40"/>
        <c:axId val="1226792208"/>
        <c:axId val="1226797616"/>
      </c:barChart>
      <c:catAx>
        <c:axId val="12267922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7616"/>
        <c:crosses val="autoZero"/>
        <c:auto val="1"/>
        <c:lblAlgn val="ctr"/>
        <c:lblOffset val="100"/>
        <c:noMultiLvlLbl val="0"/>
      </c:catAx>
      <c:valAx>
        <c:axId val="1226797616"/>
        <c:scaling>
          <c:orientation val="minMax"/>
          <c:max val="100"/>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2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5053236322438356"/>
          <c:y val="2.6006606459914455E-2"/>
          <c:w val="0.45775751277929638"/>
          <c:h val="0.90612378325569209"/>
        </c:manualLayout>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9</c:f>
              <c:strCache>
                <c:ptCount val="18"/>
                <c:pt idx="0">
                  <c:v>Kerr-Tar</c:v>
                </c:pt>
                <c:pt idx="1">
                  <c:v>Upper Coastal Plain</c:v>
                </c:pt>
                <c:pt idx="2">
                  <c:v>Mid-Carolina</c:v>
                </c:pt>
                <c:pt idx="3">
                  <c:v>Isothermal</c:v>
                </c:pt>
                <c:pt idx="4">
                  <c:v>Southwestern Commission</c:v>
                </c:pt>
                <c:pt idx="5">
                  <c:v>Triangle J</c:v>
                </c:pt>
                <c:pt idx="6">
                  <c:v>Eastern Carolina</c:v>
                </c:pt>
                <c:pt idx="7">
                  <c:v>Albemarle Commission</c:v>
                </c:pt>
                <c:pt idx="8">
                  <c:v>Land-of-Sky Regional Council</c:v>
                </c:pt>
                <c:pt idx="9">
                  <c:v>Cape Fear</c:v>
                </c:pt>
                <c:pt idx="10">
                  <c:v>Lumber River</c:v>
                </c:pt>
                <c:pt idx="11">
                  <c:v>Mid-East Commission</c:v>
                </c:pt>
                <c:pt idx="12">
                  <c:v>Centralina Regional Councils</c:v>
                </c:pt>
                <c:pt idx="13">
                  <c:v>High Country</c:v>
                </c:pt>
                <c:pt idx="14">
                  <c:v>Western Piedmont</c:v>
                </c:pt>
                <c:pt idx="15">
                  <c:v>Piedmont Triad</c:v>
                </c:pt>
                <c:pt idx="16">
                  <c:v>North Carolina</c:v>
                </c:pt>
                <c:pt idx="17">
                  <c:v>United States</c:v>
                </c:pt>
              </c:strCache>
            </c:strRef>
          </c:cat>
          <c:val>
            <c:numRef>
              <c:f>Sheet1!$B$2:$B$19</c:f>
              <c:numCache>
                <c:formatCode>0.0</c:formatCode>
                <c:ptCount val="18"/>
                <c:pt idx="0">
                  <c:v>57.625214289023774</c:v>
                </c:pt>
                <c:pt idx="1">
                  <c:v>64.206883490298026</c:v>
                </c:pt>
                <c:pt idx="2">
                  <c:v>35.062579451615903</c:v>
                </c:pt>
                <c:pt idx="3">
                  <c:v>78.646456736953979</c:v>
                </c:pt>
                <c:pt idx="4">
                  <c:v>77.273514237237279</c:v>
                </c:pt>
                <c:pt idx="5">
                  <c:v>9.3328976118618758</c:v>
                </c:pt>
                <c:pt idx="6">
                  <c:v>34.945744541770168</c:v>
                </c:pt>
                <c:pt idx="7">
                  <c:v>37.032426089694056</c:v>
                </c:pt>
                <c:pt idx="8">
                  <c:v>27.795767019892597</c:v>
                </c:pt>
                <c:pt idx="9">
                  <c:v>20.717095172288115</c:v>
                </c:pt>
                <c:pt idx="10">
                  <c:v>77.257264067878012</c:v>
                </c:pt>
                <c:pt idx="11">
                  <c:v>51.285771725259167</c:v>
                </c:pt>
                <c:pt idx="12">
                  <c:v>12.732831413959305</c:v>
                </c:pt>
                <c:pt idx="13">
                  <c:v>57.620677890328118</c:v>
                </c:pt>
                <c:pt idx="14">
                  <c:v>61.950551370389526</c:v>
                </c:pt>
                <c:pt idx="15">
                  <c:v>30.809781877132508</c:v>
                </c:pt>
                <c:pt idx="16">
                  <c:v>29.7</c:v>
                </c:pt>
                <c:pt idx="17">
                  <c:v>29.6</c:v>
                </c:pt>
              </c:numCache>
            </c:numRef>
          </c:val>
          <c:extLst>
            <c:ext xmlns:c16="http://schemas.microsoft.com/office/drawing/2014/chart" uri="{C3380CC4-5D6E-409C-BE32-E72D297353CC}">
              <c16:uniqueId val="{00000000-0240-4B3F-B5E3-376742615FEB}"/>
            </c:ext>
          </c:extLst>
        </c:ser>
        <c:dLbls>
          <c:showLegendKey val="0"/>
          <c:showVal val="0"/>
          <c:showCatName val="0"/>
          <c:showSerName val="0"/>
          <c:showPercent val="0"/>
          <c:showBubbleSize val="0"/>
        </c:dLbls>
        <c:gapWidth val="40"/>
        <c:axId val="1226792208"/>
        <c:axId val="1226797616"/>
      </c:barChart>
      <c:catAx>
        <c:axId val="12267922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7616"/>
        <c:crosses val="autoZero"/>
        <c:auto val="1"/>
        <c:lblAlgn val="ctr"/>
        <c:lblOffset val="100"/>
        <c:noMultiLvlLbl val="0"/>
      </c:catAx>
      <c:valAx>
        <c:axId val="1226797616"/>
        <c:scaling>
          <c:orientation val="minMax"/>
          <c:max val="100"/>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2208"/>
        <c:crosses val="autoZero"/>
        <c:crossBetween val="between"/>
        <c:majorUnit val="20"/>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2530849246735359E-2"/>
          <c:y val="3.5199288570078653E-2"/>
          <c:w val="0.93552993290962927"/>
          <c:h val="0.88326613428640566"/>
        </c:manualLayout>
      </c:layout>
      <c:barChart>
        <c:barDir val="bar"/>
        <c:grouping val="clustered"/>
        <c:varyColors val="0"/>
        <c:ser>
          <c:idx val="0"/>
          <c:order val="0"/>
          <c:tx>
            <c:strRef>
              <c:f>Sheet1!$B$1</c:f>
              <c:strCache>
                <c:ptCount val="1"/>
                <c:pt idx="0">
                  <c:v>Column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9</c:f>
              <c:strCache>
                <c:ptCount val="18"/>
                <c:pt idx="0">
                  <c:v>Kerr-Tar</c:v>
                </c:pt>
                <c:pt idx="1">
                  <c:v>Upper Coastal Plain</c:v>
                </c:pt>
                <c:pt idx="2">
                  <c:v>Mid-Carolina</c:v>
                </c:pt>
                <c:pt idx="3">
                  <c:v>Isothermal</c:v>
                </c:pt>
                <c:pt idx="4">
                  <c:v>Southwestern Commission</c:v>
                </c:pt>
                <c:pt idx="5">
                  <c:v>Triangle J</c:v>
                </c:pt>
                <c:pt idx="6">
                  <c:v>Eastern Carolina</c:v>
                </c:pt>
                <c:pt idx="7">
                  <c:v>Albemarle Commission</c:v>
                </c:pt>
                <c:pt idx="8">
                  <c:v>Land-of-Sky Regional Council</c:v>
                </c:pt>
                <c:pt idx="9">
                  <c:v>Cape Fear</c:v>
                </c:pt>
                <c:pt idx="10">
                  <c:v>Lumber River</c:v>
                </c:pt>
                <c:pt idx="11">
                  <c:v>Mid-East Commission</c:v>
                </c:pt>
                <c:pt idx="12">
                  <c:v>Centralina Regional Councils</c:v>
                </c:pt>
                <c:pt idx="13">
                  <c:v>High Country</c:v>
                </c:pt>
                <c:pt idx="14">
                  <c:v>Western Piedmont</c:v>
                </c:pt>
                <c:pt idx="15">
                  <c:v>Piedmont Triad</c:v>
                </c:pt>
                <c:pt idx="16">
                  <c:v>North Carolina</c:v>
                </c:pt>
                <c:pt idx="17">
                  <c:v>United States</c:v>
                </c:pt>
              </c:strCache>
            </c:strRef>
          </c:cat>
          <c:val>
            <c:numRef>
              <c:f>Sheet1!$B$2:$B$19</c:f>
              <c:numCache>
                <c:formatCode>0.00</c:formatCode>
                <c:ptCount val="18"/>
                <c:pt idx="0">
                  <c:v>3.9884010858333334</c:v>
                </c:pt>
                <c:pt idx="1">
                  <c:v>1.7866876141666665</c:v>
                </c:pt>
                <c:pt idx="2">
                  <c:v>3.283601647222222</c:v>
                </c:pt>
                <c:pt idx="3">
                  <c:v>3.0408368733125002</c:v>
                </c:pt>
                <c:pt idx="4">
                  <c:v>4.4220382380952374</c:v>
                </c:pt>
                <c:pt idx="5">
                  <c:v>12.54712386154762</c:v>
                </c:pt>
                <c:pt idx="6">
                  <c:v>2.1670061619444443</c:v>
                </c:pt>
                <c:pt idx="7">
                  <c:v>3.4733877934500006</c:v>
                </c:pt>
                <c:pt idx="8">
                  <c:v>10.098405037916667</c:v>
                </c:pt>
                <c:pt idx="9">
                  <c:v>5.2250388104166667</c:v>
                </c:pt>
                <c:pt idx="10">
                  <c:v>1.1453067021666667</c:v>
                </c:pt>
                <c:pt idx="11">
                  <c:v>1.5726628613333333</c:v>
                </c:pt>
                <c:pt idx="12">
                  <c:v>7.2487228160185175</c:v>
                </c:pt>
                <c:pt idx="13">
                  <c:v>4.3695596935714294</c:v>
                </c:pt>
                <c:pt idx="14">
                  <c:v>3.3509065666666671</c:v>
                </c:pt>
                <c:pt idx="15">
                  <c:v>2.8216946324999999</c:v>
                </c:pt>
                <c:pt idx="16">
                  <c:v>4.4296238962062287</c:v>
                </c:pt>
                <c:pt idx="17">
                  <c:v>3.9456284717007351</c:v>
                </c:pt>
              </c:numCache>
            </c:numRef>
          </c:val>
          <c:extLst>
            <c:ext xmlns:c16="http://schemas.microsoft.com/office/drawing/2014/chart" uri="{C3380CC4-5D6E-409C-BE32-E72D297353CC}">
              <c16:uniqueId val="{00000000-C2FE-475A-B0E0-E3DA432EC801}"/>
            </c:ext>
          </c:extLst>
        </c:ser>
        <c:dLbls>
          <c:showLegendKey val="0"/>
          <c:showVal val="0"/>
          <c:showCatName val="0"/>
          <c:showSerName val="0"/>
          <c:showPercent val="0"/>
          <c:showBubbleSize val="0"/>
        </c:dLbls>
        <c:gapWidth val="80"/>
        <c:axId val="1113593248"/>
        <c:axId val="1113591584"/>
      </c:barChart>
      <c:catAx>
        <c:axId val="111359324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1113591584"/>
        <c:crosses val="autoZero"/>
        <c:auto val="1"/>
        <c:lblAlgn val="ctr"/>
        <c:lblOffset val="100"/>
        <c:noMultiLvlLbl val="0"/>
      </c:catAx>
      <c:valAx>
        <c:axId val="1113591584"/>
        <c:scaling>
          <c:orientation val="minMax"/>
        </c:scaling>
        <c:delete val="0"/>
        <c:axPos val="b"/>
        <c:majorGridlines>
          <c:spPr>
            <a:ln w="9525" cap="flat" cmpd="sng" algn="ctr">
              <a:solidFill>
                <a:schemeClr val="tx1">
                  <a:lumMod val="15000"/>
                  <a:lumOff val="85000"/>
                </a:schemeClr>
              </a:solidFill>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1113593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pPr>
      <a:endParaRPr lang="en-US"/>
    </a:p>
  </c:txPr>
  <c:externalData r:id="rId3">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stacked"/>
        <c:varyColors val="0"/>
        <c:ser>
          <c:idx val="0"/>
          <c:order val="0"/>
          <c:tx>
            <c:strRef>
              <c:f>Sheet1!$B$1</c:f>
              <c:strCache>
                <c:ptCount val="1"/>
                <c:pt idx="0">
                  <c:v>Work from home</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9</c:f>
              <c:strCache>
                <c:ptCount val="18"/>
                <c:pt idx="0">
                  <c:v>Kerr-Tar</c:v>
                </c:pt>
                <c:pt idx="1">
                  <c:v>Upper Coastal Plain</c:v>
                </c:pt>
                <c:pt idx="2">
                  <c:v>Mid-Carolina</c:v>
                </c:pt>
                <c:pt idx="3">
                  <c:v>Isothermal</c:v>
                </c:pt>
                <c:pt idx="4">
                  <c:v>Southwestern Commission</c:v>
                </c:pt>
                <c:pt idx="5">
                  <c:v>Triangle J</c:v>
                </c:pt>
                <c:pt idx="6">
                  <c:v>Eastern Carolina</c:v>
                </c:pt>
                <c:pt idx="7">
                  <c:v>Albemarle Commission</c:v>
                </c:pt>
                <c:pt idx="8">
                  <c:v>Land-of-Sky Regional Council</c:v>
                </c:pt>
                <c:pt idx="9">
                  <c:v>Cape Fear</c:v>
                </c:pt>
                <c:pt idx="10">
                  <c:v>Lumber River</c:v>
                </c:pt>
                <c:pt idx="11">
                  <c:v>Mid-East Commission</c:v>
                </c:pt>
                <c:pt idx="12">
                  <c:v>Centralina Regional Councils</c:v>
                </c:pt>
                <c:pt idx="13">
                  <c:v>High Country</c:v>
                </c:pt>
                <c:pt idx="14">
                  <c:v>Western Piedmont</c:v>
                </c:pt>
                <c:pt idx="15">
                  <c:v>Piedmont Triad</c:v>
                </c:pt>
                <c:pt idx="16">
                  <c:v>North Carolina</c:v>
                </c:pt>
                <c:pt idx="17">
                  <c:v>United States</c:v>
                </c:pt>
              </c:strCache>
            </c:strRef>
          </c:cat>
          <c:val>
            <c:numRef>
              <c:f>Sheet1!$B$2:$B$19</c:f>
              <c:numCache>
                <c:formatCode>0.0</c:formatCode>
                <c:ptCount val="18"/>
                <c:pt idx="0">
                  <c:v>7.5025898477966368</c:v>
                </c:pt>
                <c:pt idx="1">
                  <c:v>4.7914758451467607</c:v>
                </c:pt>
                <c:pt idx="2">
                  <c:v>4.8210328958581901</c:v>
                </c:pt>
                <c:pt idx="3">
                  <c:v>4.8583382890153768</c:v>
                </c:pt>
                <c:pt idx="4">
                  <c:v>5.4530241453502271</c:v>
                </c:pt>
                <c:pt idx="5">
                  <c:v>16.084844301680427</c:v>
                </c:pt>
                <c:pt idx="6">
                  <c:v>5.2483836872520628</c:v>
                </c:pt>
                <c:pt idx="7">
                  <c:v>6.3302466734106293</c:v>
                </c:pt>
                <c:pt idx="8">
                  <c:v>11.365172609987502</c:v>
                </c:pt>
                <c:pt idx="9">
                  <c:v>10.521166886981089</c:v>
                </c:pt>
                <c:pt idx="10">
                  <c:v>3.7919239904988125</c:v>
                </c:pt>
                <c:pt idx="11">
                  <c:v>6.9570358691367753</c:v>
                </c:pt>
                <c:pt idx="12">
                  <c:v>13.342019131613581</c:v>
                </c:pt>
                <c:pt idx="13">
                  <c:v>7.1442973318099332</c:v>
                </c:pt>
                <c:pt idx="14">
                  <c:v>4.9031193835093685</c:v>
                </c:pt>
                <c:pt idx="15">
                  <c:v>7.132856185145954</c:v>
                </c:pt>
                <c:pt idx="16">
                  <c:v>10.285900434333007</c:v>
                </c:pt>
                <c:pt idx="17">
                  <c:v>9.6993852410295798</c:v>
                </c:pt>
              </c:numCache>
            </c:numRef>
          </c:val>
          <c:extLst>
            <c:ext xmlns:c16="http://schemas.microsoft.com/office/drawing/2014/chart" uri="{C3380CC4-5D6E-409C-BE32-E72D297353CC}">
              <c16:uniqueId val="{00000000-CE28-4B51-9E52-B698B8F4AEF5}"/>
            </c:ext>
          </c:extLst>
        </c:ser>
        <c:ser>
          <c:idx val="1"/>
          <c:order val="1"/>
          <c:tx>
            <c:strRef>
              <c:f>Sheet1!$C$1</c:f>
              <c:strCache>
                <c:ptCount val="1"/>
                <c:pt idx="0">
                  <c:v>Work from home (non-Ag)</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9</c:f>
              <c:strCache>
                <c:ptCount val="18"/>
                <c:pt idx="0">
                  <c:v>Kerr-Tar</c:v>
                </c:pt>
                <c:pt idx="1">
                  <c:v>Upper Coastal Plain</c:v>
                </c:pt>
                <c:pt idx="2">
                  <c:v>Mid-Carolina</c:v>
                </c:pt>
                <c:pt idx="3">
                  <c:v>Isothermal</c:v>
                </c:pt>
                <c:pt idx="4">
                  <c:v>Southwestern Commission</c:v>
                </c:pt>
                <c:pt idx="5">
                  <c:v>Triangle J</c:v>
                </c:pt>
                <c:pt idx="6">
                  <c:v>Eastern Carolina</c:v>
                </c:pt>
                <c:pt idx="7">
                  <c:v>Albemarle Commission</c:v>
                </c:pt>
                <c:pt idx="8">
                  <c:v>Land-of-Sky Regional Council</c:v>
                </c:pt>
                <c:pt idx="9">
                  <c:v>Cape Fear</c:v>
                </c:pt>
                <c:pt idx="10">
                  <c:v>Lumber River</c:v>
                </c:pt>
                <c:pt idx="11">
                  <c:v>Mid-East Commission</c:v>
                </c:pt>
                <c:pt idx="12">
                  <c:v>Centralina Regional Councils</c:v>
                </c:pt>
                <c:pt idx="13">
                  <c:v>High Country</c:v>
                </c:pt>
                <c:pt idx="14">
                  <c:v>Western Piedmont</c:v>
                </c:pt>
                <c:pt idx="15">
                  <c:v>Piedmont Triad</c:v>
                </c:pt>
                <c:pt idx="16">
                  <c:v>North Carolina</c:v>
                </c:pt>
                <c:pt idx="17">
                  <c:v>United States</c:v>
                </c:pt>
              </c:strCache>
            </c:strRef>
          </c:cat>
          <c:val>
            <c:numRef>
              <c:f>Sheet1!$C$2:$C$19</c:f>
              <c:numCache>
                <c:formatCode>0.0</c:formatCode>
                <c:ptCount val="18"/>
                <c:pt idx="0">
                  <c:v>7.3561638377559966</c:v>
                </c:pt>
                <c:pt idx="1">
                  <c:v>4.4973656126316142</c:v>
                </c:pt>
                <c:pt idx="2">
                  <c:v>4.7238793250383502</c:v>
                </c:pt>
                <c:pt idx="3">
                  <c:v>4.7064820321128193</c:v>
                </c:pt>
                <c:pt idx="4">
                  <c:v>5.1781018407841257</c:v>
                </c:pt>
                <c:pt idx="5">
                  <c:v>15.988390099728337</c:v>
                </c:pt>
                <c:pt idx="6">
                  <c:v>5.1124898765974383</c:v>
                </c:pt>
                <c:pt idx="7">
                  <c:v>6.1162555443156172</c:v>
                </c:pt>
                <c:pt idx="8">
                  <c:v>11.168223617345127</c:v>
                </c:pt>
                <c:pt idx="9">
                  <c:v>10.419042801445007</c:v>
                </c:pt>
                <c:pt idx="10">
                  <c:v>3.6133016627078387</c:v>
                </c:pt>
                <c:pt idx="11">
                  <c:v>6.8051175929575614</c:v>
                </c:pt>
                <c:pt idx="12">
                  <c:v>13.256479842881996</c:v>
                </c:pt>
                <c:pt idx="13">
                  <c:v>6.5875842910589872</c:v>
                </c:pt>
                <c:pt idx="14">
                  <c:v>4.7184676367038429</c:v>
                </c:pt>
                <c:pt idx="15">
                  <c:v>7.0343796673766237</c:v>
                </c:pt>
                <c:pt idx="16">
                  <c:v>10.158199176779275</c:v>
                </c:pt>
                <c:pt idx="17">
                  <c:v>9.5092908053327836</c:v>
                </c:pt>
              </c:numCache>
            </c:numRef>
          </c:val>
          <c:extLst>
            <c:ext xmlns:c16="http://schemas.microsoft.com/office/drawing/2014/chart" uri="{C3380CC4-5D6E-409C-BE32-E72D297353CC}">
              <c16:uniqueId val="{00000001-CE28-4B51-9E52-B698B8F4AEF5}"/>
            </c:ext>
          </c:extLst>
        </c:ser>
        <c:dLbls>
          <c:showLegendKey val="0"/>
          <c:showVal val="0"/>
          <c:showCatName val="0"/>
          <c:showSerName val="0"/>
          <c:showPercent val="0"/>
          <c:showBubbleSize val="0"/>
        </c:dLbls>
        <c:gapWidth val="80"/>
        <c:overlap val="100"/>
        <c:axId val="632670896"/>
        <c:axId val="632670064"/>
      </c:barChart>
      <c:catAx>
        <c:axId val="632670896"/>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632670064"/>
        <c:crosses val="autoZero"/>
        <c:auto val="1"/>
        <c:lblAlgn val="ctr"/>
        <c:lblOffset val="100"/>
        <c:noMultiLvlLbl val="0"/>
      </c:catAx>
      <c:valAx>
        <c:axId val="632670064"/>
        <c:scaling>
          <c:orientation val="minMax"/>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63267089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pPr>
      <a:endParaRPr lang="en-US"/>
    </a:p>
  </c:txPr>
  <c:externalData r:id="rId3">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Work from home (non-Ag)</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9</c:f>
              <c:strCache>
                <c:ptCount val="18"/>
                <c:pt idx="0">
                  <c:v>Kerr-Tar</c:v>
                </c:pt>
                <c:pt idx="1">
                  <c:v>Upper Coastal Plain</c:v>
                </c:pt>
                <c:pt idx="2">
                  <c:v>Mid-Carolina</c:v>
                </c:pt>
                <c:pt idx="3">
                  <c:v>Isothermal</c:v>
                </c:pt>
                <c:pt idx="4">
                  <c:v>Southwestern Commission</c:v>
                </c:pt>
                <c:pt idx="5">
                  <c:v>Triangle J</c:v>
                </c:pt>
                <c:pt idx="6">
                  <c:v>Eastern Carolina</c:v>
                </c:pt>
                <c:pt idx="7">
                  <c:v>Albemarle Commission</c:v>
                </c:pt>
                <c:pt idx="8">
                  <c:v>Land-of-Sky Regional Council</c:v>
                </c:pt>
                <c:pt idx="9">
                  <c:v>Cape Fear</c:v>
                </c:pt>
                <c:pt idx="10">
                  <c:v>Lumber River</c:v>
                </c:pt>
                <c:pt idx="11">
                  <c:v>Mid-East Commission</c:v>
                </c:pt>
                <c:pt idx="12">
                  <c:v>Centralina Regional Councils</c:v>
                </c:pt>
                <c:pt idx="13">
                  <c:v>High Country</c:v>
                </c:pt>
                <c:pt idx="14">
                  <c:v>Western Piedmont</c:v>
                </c:pt>
                <c:pt idx="15">
                  <c:v>Piedmont Triad</c:v>
                </c:pt>
                <c:pt idx="16">
                  <c:v>North Carolina</c:v>
                </c:pt>
                <c:pt idx="17">
                  <c:v>United States</c:v>
                </c:pt>
              </c:strCache>
            </c:strRef>
          </c:cat>
          <c:val>
            <c:numRef>
              <c:f>Sheet1!$B$2:$B$19</c:f>
              <c:numCache>
                <c:formatCode>0.0</c:formatCode>
                <c:ptCount val="18"/>
                <c:pt idx="0">
                  <c:v>7.3561638377559966</c:v>
                </c:pt>
                <c:pt idx="1">
                  <c:v>4.4973656126316142</c:v>
                </c:pt>
                <c:pt idx="2">
                  <c:v>4.7238793250383502</c:v>
                </c:pt>
                <c:pt idx="3">
                  <c:v>4.7064820321128193</c:v>
                </c:pt>
                <c:pt idx="4">
                  <c:v>5.1781018407841257</c:v>
                </c:pt>
                <c:pt idx="5">
                  <c:v>15.988390099728337</c:v>
                </c:pt>
                <c:pt idx="6">
                  <c:v>5.1124898765974383</c:v>
                </c:pt>
                <c:pt idx="7">
                  <c:v>6.1162555443156172</c:v>
                </c:pt>
                <c:pt idx="8">
                  <c:v>11.168223617345127</c:v>
                </c:pt>
                <c:pt idx="9">
                  <c:v>10.419042801445007</c:v>
                </c:pt>
                <c:pt idx="10">
                  <c:v>3.6133016627078387</c:v>
                </c:pt>
                <c:pt idx="11">
                  <c:v>6.8051175929575614</c:v>
                </c:pt>
                <c:pt idx="12">
                  <c:v>13.256479842881996</c:v>
                </c:pt>
                <c:pt idx="13">
                  <c:v>6.5875842910589872</c:v>
                </c:pt>
                <c:pt idx="14">
                  <c:v>4.7184676367038429</c:v>
                </c:pt>
                <c:pt idx="15">
                  <c:v>7.0343796673766237</c:v>
                </c:pt>
                <c:pt idx="16">
                  <c:v>10.158199176779275</c:v>
                </c:pt>
                <c:pt idx="17">
                  <c:v>9.5092908053327836</c:v>
                </c:pt>
              </c:numCache>
            </c:numRef>
          </c:val>
          <c:extLst>
            <c:ext xmlns:c16="http://schemas.microsoft.com/office/drawing/2014/chart" uri="{C3380CC4-5D6E-409C-BE32-E72D297353CC}">
              <c16:uniqueId val="{00000000-2C58-49D5-B614-760D54610350}"/>
            </c:ext>
          </c:extLst>
        </c:ser>
        <c:ser>
          <c:idx val="1"/>
          <c:order val="1"/>
          <c:tx>
            <c:strRef>
              <c:f>Sheet1!$C$1</c:f>
              <c:strCache>
                <c:ptCount val="1"/>
                <c:pt idx="0">
                  <c:v>Remote work friendly</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9</c:f>
              <c:strCache>
                <c:ptCount val="18"/>
                <c:pt idx="0">
                  <c:v>Kerr-Tar</c:v>
                </c:pt>
                <c:pt idx="1">
                  <c:v>Upper Coastal Plain</c:v>
                </c:pt>
                <c:pt idx="2">
                  <c:v>Mid-Carolina</c:v>
                </c:pt>
                <c:pt idx="3">
                  <c:v>Isothermal</c:v>
                </c:pt>
                <c:pt idx="4">
                  <c:v>Southwestern Commission</c:v>
                </c:pt>
                <c:pt idx="5">
                  <c:v>Triangle J</c:v>
                </c:pt>
                <c:pt idx="6">
                  <c:v>Eastern Carolina</c:v>
                </c:pt>
                <c:pt idx="7">
                  <c:v>Albemarle Commission</c:v>
                </c:pt>
                <c:pt idx="8">
                  <c:v>Land-of-Sky Regional Council</c:v>
                </c:pt>
                <c:pt idx="9">
                  <c:v>Cape Fear</c:v>
                </c:pt>
                <c:pt idx="10">
                  <c:v>Lumber River</c:v>
                </c:pt>
                <c:pt idx="11">
                  <c:v>Mid-East Commission</c:v>
                </c:pt>
                <c:pt idx="12">
                  <c:v>Centralina Regional Councils</c:v>
                </c:pt>
                <c:pt idx="13">
                  <c:v>High Country</c:v>
                </c:pt>
                <c:pt idx="14">
                  <c:v>Western Piedmont</c:v>
                </c:pt>
                <c:pt idx="15">
                  <c:v>Piedmont Triad</c:v>
                </c:pt>
                <c:pt idx="16">
                  <c:v>North Carolina</c:v>
                </c:pt>
                <c:pt idx="17">
                  <c:v>United States</c:v>
                </c:pt>
              </c:strCache>
            </c:strRef>
          </c:cat>
          <c:val>
            <c:numRef>
              <c:f>Sheet1!$C$2:$C$19</c:f>
              <c:numCache>
                <c:formatCode>0.0</c:formatCode>
                <c:ptCount val="18"/>
                <c:pt idx="0">
                  <c:v>29.048248106839903</c:v>
                </c:pt>
                <c:pt idx="1">
                  <c:v>28.102328833203753</c:v>
                </c:pt>
                <c:pt idx="2">
                  <c:v>27.552751157896054</c:v>
                </c:pt>
                <c:pt idx="3">
                  <c:v>27.876521290740104</c:v>
                </c:pt>
                <c:pt idx="4">
                  <c:v>28.862716884964673</c:v>
                </c:pt>
                <c:pt idx="5">
                  <c:v>38.547126191378183</c:v>
                </c:pt>
                <c:pt idx="6">
                  <c:v>26.543290468048404</c:v>
                </c:pt>
                <c:pt idx="7">
                  <c:v>27.144568742887454</c:v>
                </c:pt>
                <c:pt idx="8">
                  <c:v>30.352093661813207</c:v>
                </c:pt>
                <c:pt idx="9">
                  <c:v>30.257735189532287</c:v>
                </c:pt>
                <c:pt idx="10">
                  <c:v>25.513553321716216</c:v>
                </c:pt>
                <c:pt idx="11">
                  <c:v>31.405392510472534</c:v>
                </c:pt>
                <c:pt idx="12">
                  <c:v>34.310336541657918</c:v>
                </c:pt>
                <c:pt idx="13">
                  <c:v>29.230238481289671</c:v>
                </c:pt>
                <c:pt idx="14">
                  <c:v>26.254251195474005</c:v>
                </c:pt>
                <c:pt idx="15">
                  <c:v>31.631665036092322</c:v>
                </c:pt>
                <c:pt idx="16">
                  <c:v>32.670704756158578</c:v>
                </c:pt>
                <c:pt idx="17">
                  <c:v>35.163543124718231</c:v>
                </c:pt>
              </c:numCache>
            </c:numRef>
          </c:val>
          <c:extLst>
            <c:ext xmlns:c16="http://schemas.microsoft.com/office/drawing/2014/chart" uri="{C3380CC4-5D6E-409C-BE32-E72D297353CC}">
              <c16:uniqueId val="{00000001-2C58-49D5-B614-760D54610350}"/>
            </c:ext>
          </c:extLst>
        </c:ser>
        <c:dLbls>
          <c:showLegendKey val="0"/>
          <c:showVal val="0"/>
          <c:showCatName val="0"/>
          <c:showSerName val="0"/>
          <c:showPercent val="0"/>
          <c:showBubbleSize val="0"/>
        </c:dLbls>
        <c:gapWidth val="80"/>
        <c:axId val="632643856"/>
        <c:axId val="632648848"/>
      </c:barChart>
      <c:catAx>
        <c:axId val="632643856"/>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632648848"/>
        <c:crosses val="autoZero"/>
        <c:auto val="1"/>
        <c:lblAlgn val="ctr"/>
        <c:lblOffset val="100"/>
        <c:noMultiLvlLbl val="0"/>
      </c:catAx>
      <c:valAx>
        <c:axId val="632648848"/>
        <c:scaling>
          <c:orientation val="minMax"/>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63264385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pPr>
      <a:endParaRPr lang="en-US"/>
    </a:p>
  </c:txPr>
  <c:externalData r:id="rId3">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7263119337311026E-2"/>
          <c:y val="3.5199288570078653E-2"/>
          <c:w val="0.9007976628190536"/>
          <c:h val="0.86849067881542696"/>
        </c:manualLayout>
      </c:layout>
      <c:barChart>
        <c:barDir val="bar"/>
        <c:grouping val="clustered"/>
        <c:varyColors val="0"/>
        <c:ser>
          <c:idx val="0"/>
          <c:order val="0"/>
          <c:tx>
            <c:strRef>
              <c:f>Sheet1!$B$1</c:f>
              <c:strCache>
                <c:ptCount val="1"/>
                <c:pt idx="0">
                  <c:v>Column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9</c:f>
              <c:strCache>
                <c:ptCount val="18"/>
                <c:pt idx="0">
                  <c:v>Kerr-Tar</c:v>
                </c:pt>
                <c:pt idx="1">
                  <c:v>Upper Coastal Plain</c:v>
                </c:pt>
                <c:pt idx="2">
                  <c:v>Mid-Carolina</c:v>
                </c:pt>
                <c:pt idx="3">
                  <c:v>Isothermal</c:v>
                </c:pt>
                <c:pt idx="4">
                  <c:v>Southwestern Commission</c:v>
                </c:pt>
                <c:pt idx="5">
                  <c:v>Triangle J</c:v>
                </c:pt>
                <c:pt idx="6">
                  <c:v>Eastern Carolina</c:v>
                </c:pt>
                <c:pt idx="7">
                  <c:v>Albemarle Commission</c:v>
                </c:pt>
                <c:pt idx="8">
                  <c:v>Land-of-Sky Regional Council</c:v>
                </c:pt>
                <c:pt idx="9">
                  <c:v>Cape Fear</c:v>
                </c:pt>
                <c:pt idx="10">
                  <c:v>Lumber River</c:v>
                </c:pt>
                <c:pt idx="11">
                  <c:v>Mid-East Commission</c:v>
                </c:pt>
                <c:pt idx="12">
                  <c:v>Centralina Regional Councils</c:v>
                </c:pt>
                <c:pt idx="13">
                  <c:v>High Country</c:v>
                </c:pt>
                <c:pt idx="14">
                  <c:v>Western Piedmont</c:v>
                </c:pt>
                <c:pt idx="15">
                  <c:v>Piedmont Triad</c:v>
                </c:pt>
                <c:pt idx="16">
                  <c:v>North Carolina</c:v>
                </c:pt>
                <c:pt idx="17">
                  <c:v>United States</c:v>
                </c:pt>
              </c:strCache>
            </c:strRef>
          </c:cat>
          <c:val>
            <c:numRef>
              <c:f>Sheet1!$B$2:$B$19</c:f>
              <c:numCache>
                <c:formatCode>#,##0.0</c:formatCode>
                <c:ptCount val="18"/>
                <c:pt idx="0">
                  <c:v>1.2833947578698301</c:v>
                </c:pt>
                <c:pt idx="1">
                  <c:v>0.78062509967866367</c:v>
                </c:pt>
                <c:pt idx="2">
                  <c:v>1.2171897920202326</c:v>
                </c:pt>
                <c:pt idx="3">
                  <c:v>1.1230537821971107</c:v>
                </c:pt>
                <c:pt idx="4">
                  <c:v>1.4787067991763974</c:v>
                </c:pt>
                <c:pt idx="5">
                  <c:v>6.6672973496707435</c:v>
                </c:pt>
                <c:pt idx="6">
                  <c:v>0.68092974416020857</c:v>
                </c:pt>
                <c:pt idx="7">
                  <c:v>1.0587077446985613</c:v>
                </c:pt>
                <c:pt idx="8">
                  <c:v>2.002476872503816</c:v>
                </c:pt>
                <c:pt idx="9">
                  <c:v>2.2183196727034531</c:v>
                </c:pt>
                <c:pt idx="10">
                  <c:v>0.41826666907640186</c:v>
                </c:pt>
                <c:pt idx="11">
                  <c:v>1.1061863279292006</c:v>
                </c:pt>
                <c:pt idx="12">
                  <c:v>3.2647221965263906</c:v>
                </c:pt>
                <c:pt idx="13">
                  <c:v>2.1131167652026588</c:v>
                </c:pt>
                <c:pt idx="14">
                  <c:v>3.1556312881481872</c:v>
                </c:pt>
                <c:pt idx="15">
                  <c:v>2.0184757172497227</c:v>
                </c:pt>
                <c:pt idx="16" formatCode="0.0">
                  <c:v>3.1906212529243381</c:v>
                </c:pt>
                <c:pt idx="17" formatCode="0.0">
                  <c:v>3.4315339366940902</c:v>
                </c:pt>
              </c:numCache>
            </c:numRef>
          </c:val>
          <c:extLst>
            <c:ext xmlns:c16="http://schemas.microsoft.com/office/drawing/2014/chart" uri="{C3380CC4-5D6E-409C-BE32-E72D297353CC}">
              <c16:uniqueId val="{00000000-C2FE-475A-B0E0-E3DA432EC801}"/>
            </c:ext>
          </c:extLst>
        </c:ser>
        <c:dLbls>
          <c:showLegendKey val="0"/>
          <c:showVal val="0"/>
          <c:showCatName val="0"/>
          <c:showSerName val="0"/>
          <c:showPercent val="0"/>
          <c:showBubbleSize val="0"/>
        </c:dLbls>
        <c:gapWidth val="80"/>
        <c:axId val="1113593248"/>
        <c:axId val="1113591584"/>
      </c:barChart>
      <c:catAx>
        <c:axId val="111359324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1113591584"/>
        <c:crosses val="autoZero"/>
        <c:auto val="1"/>
        <c:lblAlgn val="ctr"/>
        <c:lblOffset val="100"/>
        <c:noMultiLvlLbl val="0"/>
      </c:catAx>
      <c:valAx>
        <c:axId val="1113591584"/>
        <c:scaling>
          <c:orientation val="minMax"/>
          <c:max val="10"/>
          <c:min val="0"/>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1113593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percentStacked"/>
        <c:varyColors val="0"/>
        <c:ser>
          <c:idx val="0"/>
          <c:order val="0"/>
          <c:tx>
            <c:strRef>
              <c:f>Sheet1!$B$1</c:f>
              <c:strCache>
                <c:ptCount val="1"/>
                <c:pt idx="0">
                  <c:v>Under 18</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9</c:f>
              <c:strCache>
                <c:ptCount val="18"/>
                <c:pt idx="0">
                  <c:v>Kerr-Tar</c:v>
                </c:pt>
                <c:pt idx="1">
                  <c:v>Upper Coastal Plain</c:v>
                </c:pt>
                <c:pt idx="2">
                  <c:v>Mid-Carolina</c:v>
                </c:pt>
                <c:pt idx="3">
                  <c:v>Isothermal Regional Commission</c:v>
                </c:pt>
                <c:pt idx="4">
                  <c:v>Southwestern Commission</c:v>
                </c:pt>
                <c:pt idx="5">
                  <c:v>Triangle J</c:v>
                </c:pt>
                <c:pt idx="6">
                  <c:v>Eastern Carolina</c:v>
                </c:pt>
                <c:pt idx="7">
                  <c:v>Albemarle Commission</c:v>
                </c:pt>
                <c:pt idx="8">
                  <c:v>Land-of-Sky Regional Council</c:v>
                </c:pt>
                <c:pt idx="9">
                  <c:v>Cape Fear</c:v>
                </c:pt>
                <c:pt idx="10">
                  <c:v>Lumber River</c:v>
                </c:pt>
                <c:pt idx="11">
                  <c:v>Mid-East Commission</c:v>
                </c:pt>
                <c:pt idx="12">
                  <c:v>Centralina Regional Councils</c:v>
                </c:pt>
                <c:pt idx="13">
                  <c:v>High Country</c:v>
                </c:pt>
                <c:pt idx="14">
                  <c:v>Western Piedmont</c:v>
                </c:pt>
                <c:pt idx="15">
                  <c:v>Piedmont Triad</c:v>
                </c:pt>
                <c:pt idx="16">
                  <c:v>North Carolina</c:v>
                </c:pt>
                <c:pt idx="17">
                  <c:v>United States</c:v>
                </c:pt>
              </c:strCache>
            </c:strRef>
          </c:cat>
          <c:val>
            <c:numRef>
              <c:f>Sheet1!$B$2:$B$19</c:f>
              <c:numCache>
                <c:formatCode>#,##0.0</c:formatCode>
                <c:ptCount val="18"/>
                <c:pt idx="0">
                  <c:v>21.513603214114156</c:v>
                </c:pt>
                <c:pt idx="1">
                  <c:v>22.145861537984558</c:v>
                </c:pt>
                <c:pt idx="2">
                  <c:v>25.234165329846199</c:v>
                </c:pt>
                <c:pt idx="3">
                  <c:v>20.838060062436796</c:v>
                </c:pt>
                <c:pt idx="4">
                  <c:v>17.997605640047887</c:v>
                </c:pt>
                <c:pt idx="5">
                  <c:v>22.929417791822747</c:v>
                </c:pt>
                <c:pt idx="6">
                  <c:v>22.579214763169439</c:v>
                </c:pt>
                <c:pt idx="7">
                  <c:v>20.633042707944796</c:v>
                </c:pt>
                <c:pt idx="8">
                  <c:v>18.380787561635557</c:v>
                </c:pt>
                <c:pt idx="9">
                  <c:v>18.233766012899604</c:v>
                </c:pt>
                <c:pt idx="10">
                  <c:v>24.594627559586161</c:v>
                </c:pt>
                <c:pt idx="11">
                  <c:v>20.67049160265778</c:v>
                </c:pt>
                <c:pt idx="12">
                  <c:v>23.656759058379507</c:v>
                </c:pt>
                <c:pt idx="13">
                  <c:v>17.077640866132313</c:v>
                </c:pt>
                <c:pt idx="14">
                  <c:v>20.712733332054363</c:v>
                </c:pt>
                <c:pt idx="15">
                  <c:v>22.17045903464026</c:v>
                </c:pt>
                <c:pt idx="16">
                  <c:v>22.208065151207357</c:v>
                </c:pt>
                <c:pt idx="17">
                  <c:v>22.513903012548795</c:v>
                </c:pt>
              </c:numCache>
            </c:numRef>
          </c:val>
          <c:extLst>
            <c:ext xmlns:c16="http://schemas.microsoft.com/office/drawing/2014/chart" uri="{C3380CC4-5D6E-409C-BE32-E72D297353CC}">
              <c16:uniqueId val="{00000000-298F-467E-8D4C-304DCB4FECBD}"/>
            </c:ext>
          </c:extLst>
        </c:ser>
        <c:ser>
          <c:idx val="1"/>
          <c:order val="1"/>
          <c:tx>
            <c:strRef>
              <c:f>Sheet1!$C$1</c:f>
              <c:strCache>
                <c:ptCount val="1"/>
                <c:pt idx="0">
                  <c:v>18-24</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9</c:f>
              <c:strCache>
                <c:ptCount val="18"/>
                <c:pt idx="0">
                  <c:v>Kerr-Tar</c:v>
                </c:pt>
                <c:pt idx="1">
                  <c:v>Upper Coastal Plain</c:v>
                </c:pt>
                <c:pt idx="2">
                  <c:v>Mid-Carolina</c:v>
                </c:pt>
                <c:pt idx="3">
                  <c:v>Isothermal Regional Commission</c:v>
                </c:pt>
                <c:pt idx="4">
                  <c:v>Southwestern Commission</c:v>
                </c:pt>
                <c:pt idx="5">
                  <c:v>Triangle J</c:v>
                </c:pt>
                <c:pt idx="6">
                  <c:v>Eastern Carolina</c:v>
                </c:pt>
                <c:pt idx="7">
                  <c:v>Albemarle Commission</c:v>
                </c:pt>
                <c:pt idx="8">
                  <c:v>Land-of-Sky Regional Council</c:v>
                </c:pt>
                <c:pt idx="9">
                  <c:v>Cape Fear</c:v>
                </c:pt>
                <c:pt idx="10">
                  <c:v>Lumber River</c:v>
                </c:pt>
                <c:pt idx="11">
                  <c:v>Mid-East Commission</c:v>
                </c:pt>
                <c:pt idx="12">
                  <c:v>Centralina Regional Councils</c:v>
                </c:pt>
                <c:pt idx="13">
                  <c:v>High Country</c:v>
                </c:pt>
                <c:pt idx="14">
                  <c:v>Western Piedmont</c:v>
                </c:pt>
                <c:pt idx="15">
                  <c:v>Piedmont Triad</c:v>
                </c:pt>
                <c:pt idx="16">
                  <c:v>North Carolina</c:v>
                </c:pt>
                <c:pt idx="17">
                  <c:v>United States</c:v>
                </c:pt>
              </c:strCache>
            </c:strRef>
          </c:cat>
          <c:val>
            <c:numRef>
              <c:f>Sheet1!$C$2:$C$19</c:f>
              <c:numCache>
                <c:formatCode>#,##0.0</c:formatCode>
                <c:ptCount val="18"/>
                <c:pt idx="0">
                  <c:v>8.1575614655661823</c:v>
                </c:pt>
                <c:pt idx="1">
                  <c:v>8.1077822445907355</c:v>
                </c:pt>
                <c:pt idx="2">
                  <c:v>11.323756376823715</c:v>
                </c:pt>
                <c:pt idx="3">
                  <c:v>7.7083058523501737</c:v>
                </c:pt>
                <c:pt idx="4">
                  <c:v>9.2976051473812298</c:v>
                </c:pt>
                <c:pt idx="5">
                  <c:v>9.4740418196637322</c:v>
                </c:pt>
                <c:pt idx="6">
                  <c:v>13.036962958420407</c:v>
                </c:pt>
                <c:pt idx="7">
                  <c:v>6.9312989556135767</c:v>
                </c:pt>
                <c:pt idx="8">
                  <c:v>7.374748764999703</c:v>
                </c:pt>
                <c:pt idx="9">
                  <c:v>9.395580801102037</c:v>
                </c:pt>
                <c:pt idx="10">
                  <c:v>9.2015956607212033</c:v>
                </c:pt>
                <c:pt idx="11">
                  <c:v>13.734855629062794</c:v>
                </c:pt>
                <c:pt idx="12">
                  <c:v>8.5544466020267649</c:v>
                </c:pt>
                <c:pt idx="13">
                  <c:v>12.674243330541932</c:v>
                </c:pt>
                <c:pt idx="14">
                  <c:v>8.1372626940037325</c:v>
                </c:pt>
                <c:pt idx="15">
                  <c:v>9.3954030213989324</c:v>
                </c:pt>
                <c:pt idx="16">
                  <c:v>9.4514220187822495</c:v>
                </c:pt>
                <c:pt idx="17">
                  <c:v>9.2013176864544484</c:v>
                </c:pt>
              </c:numCache>
            </c:numRef>
          </c:val>
          <c:extLst>
            <c:ext xmlns:c16="http://schemas.microsoft.com/office/drawing/2014/chart" uri="{C3380CC4-5D6E-409C-BE32-E72D297353CC}">
              <c16:uniqueId val="{00000001-298F-467E-8D4C-304DCB4FECBD}"/>
            </c:ext>
          </c:extLst>
        </c:ser>
        <c:ser>
          <c:idx val="2"/>
          <c:order val="2"/>
          <c:tx>
            <c:strRef>
              <c:f>Sheet1!$D$1</c:f>
              <c:strCache>
                <c:ptCount val="1"/>
                <c:pt idx="0">
                  <c:v>25-54</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9</c:f>
              <c:strCache>
                <c:ptCount val="18"/>
                <c:pt idx="0">
                  <c:v>Kerr-Tar</c:v>
                </c:pt>
                <c:pt idx="1">
                  <c:v>Upper Coastal Plain</c:v>
                </c:pt>
                <c:pt idx="2">
                  <c:v>Mid-Carolina</c:v>
                </c:pt>
                <c:pt idx="3">
                  <c:v>Isothermal Regional Commission</c:v>
                </c:pt>
                <c:pt idx="4">
                  <c:v>Southwestern Commission</c:v>
                </c:pt>
                <c:pt idx="5">
                  <c:v>Triangle J</c:v>
                </c:pt>
                <c:pt idx="6">
                  <c:v>Eastern Carolina</c:v>
                </c:pt>
                <c:pt idx="7">
                  <c:v>Albemarle Commission</c:v>
                </c:pt>
                <c:pt idx="8">
                  <c:v>Land-of-Sky Regional Council</c:v>
                </c:pt>
                <c:pt idx="9">
                  <c:v>Cape Fear</c:v>
                </c:pt>
                <c:pt idx="10">
                  <c:v>Lumber River</c:v>
                </c:pt>
                <c:pt idx="11">
                  <c:v>Mid-East Commission</c:v>
                </c:pt>
                <c:pt idx="12">
                  <c:v>Centralina Regional Councils</c:v>
                </c:pt>
                <c:pt idx="13">
                  <c:v>High Country</c:v>
                </c:pt>
                <c:pt idx="14">
                  <c:v>Western Piedmont</c:v>
                </c:pt>
                <c:pt idx="15">
                  <c:v>Piedmont Triad</c:v>
                </c:pt>
                <c:pt idx="16">
                  <c:v>North Carolina</c:v>
                </c:pt>
                <c:pt idx="17">
                  <c:v>United States</c:v>
                </c:pt>
              </c:strCache>
            </c:strRef>
          </c:cat>
          <c:val>
            <c:numRef>
              <c:f>Sheet1!$D$2:$D$19</c:f>
              <c:numCache>
                <c:formatCode>#,##0.0</c:formatCode>
                <c:ptCount val="18"/>
                <c:pt idx="0">
                  <c:v>36.924319839294299</c:v>
                </c:pt>
                <c:pt idx="1">
                  <c:v>35.622431439014221</c:v>
                </c:pt>
                <c:pt idx="2">
                  <c:v>39.584394553375255</c:v>
                </c:pt>
                <c:pt idx="3">
                  <c:v>36.01679637690718</c:v>
                </c:pt>
                <c:pt idx="4">
                  <c:v>32.921464008237386</c:v>
                </c:pt>
                <c:pt idx="5">
                  <c:v>42.057868269094698</c:v>
                </c:pt>
                <c:pt idx="6">
                  <c:v>35.674357389839948</c:v>
                </c:pt>
                <c:pt idx="7">
                  <c:v>36.179946848190973</c:v>
                </c:pt>
                <c:pt idx="8">
                  <c:v>37.596888577563512</c:v>
                </c:pt>
                <c:pt idx="9">
                  <c:v>35.333820859605183</c:v>
                </c:pt>
                <c:pt idx="10">
                  <c:v>37.664122027866668</c:v>
                </c:pt>
                <c:pt idx="11">
                  <c:v>35.54526934124236</c:v>
                </c:pt>
                <c:pt idx="12">
                  <c:v>42.221035187078442</c:v>
                </c:pt>
                <c:pt idx="13">
                  <c:v>34.100729752362724</c:v>
                </c:pt>
                <c:pt idx="14">
                  <c:v>37.427132979058698</c:v>
                </c:pt>
                <c:pt idx="15">
                  <c:v>37.790093802354718</c:v>
                </c:pt>
                <c:pt idx="16">
                  <c:v>39.051455663931264</c:v>
                </c:pt>
                <c:pt idx="17">
                  <c:v>39.255165420472913</c:v>
                </c:pt>
              </c:numCache>
            </c:numRef>
          </c:val>
          <c:extLst>
            <c:ext xmlns:c16="http://schemas.microsoft.com/office/drawing/2014/chart" uri="{C3380CC4-5D6E-409C-BE32-E72D297353CC}">
              <c16:uniqueId val="{00000002-298F-467E-8D4C-304DCB4FECBD}"/>
            </c:ext>
          </c:extLst>
        </c:ser>
        <c:ser>
          <c:idx val="3"/>
          <c:order val="3"/>
          <c:tx>
            <c:strRef>
              <c:f>Sheet1!$E$1</c:f>
              <c:strCache>
                <c:ptCount val="1"/>
                <c:pt idx="0">
                  <c:v>55-64</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9</c:f>
              <c:strCache>
                <c:ptCount val="18"/>
                <c:pt idx="0">
                  <c:v>Kerr-Tar</c:v>
                </c:pt>
                <c:pt idx="1">
                  <c:v>Upper Coastal Plain</c:v>
                </c:pt>
                <c:pt idx="2">
                  <c:v>Mid-Carolina</c:v>
                </c:pt>
                <c:pt idx="3">
                  <c:v>Isothermal Regional Commission</c:v>
                </c:pt>
                <c:pt idx="4">
                  <c:v>Southwestern Commission</c:v>
                </c:pt>
                <c:pt idx="5">
                  <c:v>Triangle J</c:v>
                </c:pt>
                <c:pt idx="6">
                  <c:v>Eastern Carolina</c:v>
                </c:pt>
                <c:pt idx="7">
                  <c:v>Albemarle Commission</c:v>
                </c:pt>
                <c:pt idx="8">
                  <c:v>Land-of-Sky Regional Council</c:v>
                </c:pt>
                <c:pt idx="9">
                  <c:v>Cape Fear</c:v>
                </c:pt>
                <c:pt idx="10">
                  <c:v>Lumber River</c:v>
                </c:pt>
                <c:pt idx="11">
                  <c:v>Mid-East Commission</c:v>
                </c:pt>
                <c:pt idx="12">
                  <c:v>Centralina Regional Councils</c:v>
                </c:pt>
                <c:pt idx="13">
                  <c:v>High Country</c:v>
                </c:pt>
                <c:pt idx="14">
                  <c:v>Western Piedmont</c:v>
                </c:pt>
                <c:pt idx="15">
                  <c:v>Piedmont Triad</c:v>
                </c:pt>
                <c:pt idx="16">
                  <c:v>North Carolina</c:v>
                </c:pt>
                <c:pt idx="17">
                  <c:v>United States</c:v>
                </c:pt>
              </c:strCache>
            </c:strRef>
          </c:cat>
          <c:val>
            <c:numRef>
              <c:f>Sheet1!$E$2:$E$19</c:f>
              <c:numCache>
                <c:formatCode>#,##0.0</c:formatCode>
                <c:ptCount val="18"/>
                <c:pt idx="0">
                  <c:v>14.962225424691034</c:v>
                </c:pt>
                <c:pt idx="1">
                  <c:v>14.651261329227081</c:v>
                </c:pt>
                <c:pt idx="2">
                  <c:v>11.021926389976509</c:v>
                </c:pt>
                <c:pt idx="3">
                  <c:v>14.806753726421318</c:v>
                </c:pt>
                <c:pt idx="4">
                  <c:v>14.889864368869379</c:v>
                </c:pt>
                <c:pt idx="5">
                  <c:v>11.96781798037463</c:v>
                </c:pt>
                <c:pt idx="6">
                  <c:v>12.30861640886784</c:v>
                </c:pt>
                <c:pt idx="7">
                  <c:v>15.851711115255501</c:v>
                </c:pt>
                <c:pt idx="8">
                  <c:v>14.231919092028697</c:v>
                </c:pt>
                <c:pt idx="9">
                  <c:v>14.971449951318233</c:v>
                </c:pt>
                <c:pt idx="10">
                  <c:v>12.830934580780323</c:v>
                </c:pt>
                <c:pt idx="11">
                  <c:v>12.990504848358325</c:v>
                </c:pt>
                <c:pt idx="12">
                  <c:v>12.215496500557151</c:v>
                </c:pt>
                <c:pt idx="13">
                  <c:v>14.502213183395144</c:v>
                </c:pt>
                <c:pt idx="14">
                  <c:v>14.606017918367012</c:v>
                </c:pt>
                <c:pt idx="15">
                  <c:v>13.624496457540955</c:v>
                </c:pt>
                <c:pt idx="16">
                  <c:v>13.023682210764095</c:v>
                </c:pt>
                <c:pt idx="17">
                  <c:v>12.989415579926018</c:v>
                </c:pt>
              </c:numCache>
            </c:numRef>
          </c:val>
          <c:extLst>
            <c:ext xmlns:c16="http://schemas.microsoft.com/office/drawing/2014/chart" uri="{C3380CC4-5D6E-409C-BE32-E72D297353CC}">
              <c16:uniqueId val="{00000003-298F-467E-8D4C-304DCB4FECBD}"/>
            </c:ext>
          </c:extLst>
        </c:ser>
        <c:ser>
          <c:idx val="4"/>
          <c:order val="4"/>
          <c:tx>
            <c:strRef>
              <c:f>Sheet1!$F$1</c:f>
              <c:strCache>
                <c:ptCount val="1"/>
                <c:pt idx="0">
                  <c:v>65 or older</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9</c:f>
              <c:strCache>
                <c:ptCount val="18"/>
                <c:pt idx="0">
                  <c:v>Kerr-Tar</c:v>
                </c:pt>
                <c:pt idx="1">
                  <c:v>Upper Coastal Plain</c:v>
                </c:pt>
                <c:pt idx="2">
                  <c:v>Mid-Carolina</c:v>
                </c:pt>
                <c:pt idx="3">
                  <c:v>Isothermal Regional Commission</c:v>
                </c:pt>
                <c:pt idx="4">
                  <c:v>Southwestern Commission</c:v>
                </c:pt>
                <c:pt idx="5">
                  <c:v>Triangle J</c:v>
                </c:pt>
                <c:pt idx="6">
                  <c:v>Eastern Carolina</c:v>
                </c:pt>
                <c:pt idx="7">
                  <c:v>Albemarle Commission</c:v>
                </c:pt>
                <c:pt idx="8">
                  <c:v>Land-of-Sky Regional Council</c:v>
                </c:pt>
                <c:pt idx="9">
                  <c:v>Cape Fear</c:v>
                </c:pt>
                <c:pt idx="10">
                  <c:v>Lumber River</c:v>
                </c:pt>
                <c:pt idx="11">
                  <c:v>Mid-East Commission</c:v>
                </c:pt>
                <c:pt idx="12">
                  <c:v>Centralina Regional Councils</c:v>
                </c:pt>
                <c:pt idx="13">
                  <c:v>High Country</c:v>
                </c:pt>
                <c:pt idx="14">
                  <c:v>Western Piedmont</c:v>
                </c:pt>
                <c:pt idx="15">
                  <c:v>Piedmont Triad</c:v>
                </c:pt>
                <c:pt idx="16">
                  <c:v>North Carolina</c:v>
                </c:pt>
                <c:pt idx="17">
                  <c:v>United States</c:v>
                </c:pt>
              </c:strCache>
            </c:strRef>
          </c:cat>
          <c:val>
            <c:numRef>
              <c:f>Sheet1!$F$2:$F$19</c:f>
              <c:numCache>
                <c:formatCode>#,##0.0</c:formatCode>
                <c:ptCount val="18"/>
                <c:pt idx="0">
                  <c:v>18.442290056334336</c:v>
                </c:pt>
                <c:pt idx="1">
                  <c:v>19.472663449183401</c:v>
                </c:pt>
                <c:pt idx="2">
                  <c:v>12.835757349978334</c:v>
                </c:pt>
                <c:pt idx="3">
                  <c:v>20.630083981884535</c:v>
                </c:pt>
                <c:pt idx="4">
                  <c:v>24.893460835464118</c:v>
                </c:pt>
                <c:pt idx="5">
                  <c:v>13.570854139044194</c:v>
                </c:pt>
                <c:pt idx="6">
                  <c:v>16.400848479702372</c:v>
                </c:pt>
                <c:pt idx="7">
                  <c:v>20.404000372995153</c:v>
                </c:pt>
                <c:pt idx="8">
                  <c:v>22.415656003772529</c:v>
                </c:pt>
                <c:pt idx="9">
                  <c:v>22.065382375074936</c:v>
                </c:pt>
                <c:pt idx="10">
                  <c:v>15.708720171045645</c:v>
                </c:pt>
                <c:pt idx="11">
                  <c:v>17.05887857867874</c:v>
                </c:pt>
                <c:pt idx="12">
                  <c:v>13.352262651958133</c:v>
                </c:pt>
                <c:pt idx="13">
                  <c:v>21.64517286756789</c:v>
                </c:pt>
                <c:pt idx="14">
                  <c:v>19.116853076516197</c:v>
                </c:pt>
                <c:pt idx="15">
                  <c:v>17.019547684065135</c:v>
                </c:pt>
                <c:pt idx="16">
                  <c:v>16.265374955315039</c:v>
                </c:pt>
                <c:pt idx="17">
                  <c:v>16.040198300597826</c:v>
                </c:pt>
              </c:numCache>
            </c:numRef>
          </c:val>
          <c:extLst>
            <c:ext xmlns:c16="http://schemas.microsoft.com/office/drawing/2014/chart" uri="{C3380CC4-5D6E-409C-BE32-E72D297353CC}">
              <c16:uniqueId val="{00000004-298F-467E-8D4C-304DCB4FECBD}"/>
            </c:ext>
          </c:extLst>
        </c:ser>
        <c:dLbls>
          <c:showLegendKey val="0"/>
          <c:showVal val="0"/>
          <c:showCatName val="0"/>
          <c:showSerName val="0"/>
          <c:showPercent val="0"/>
          <c:showBubbleSize val="0"/>
        </c:dLbls>
        <c:gapWidth val="60"/>
        <c:overlap val="100"/>
        <c:axId val="979383072"/>
        <c:axId val="979383488"/>
      </c:barChart>
      <c:catAx>
        <c:axId val="979383072"/>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979383488"/>
        <c:crosses val="autoZero"/>
        <c:auto val="1"/>
        <c:lblAlgn val="ctr"/>
        <c:lblOffset val="100"/>
        <c:noMultiLvlLbl val="0"/>
      </c:catAx>
      <c:valAx>
        <c:axId val="979383488"/>
        <c:scaling>
          <c:orientation val="minMax"/>
        </c:scaling>
        <c:delete val="0"/>
        <c:axPos val="b"/>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97938307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6758149392176724"/>
          <c:y val="3.2835204110124534E-2"/>
          <c:w val="0.82047928823459737"/>
          <c:h val="0.88090206809255223"/>
        </c:manualLayout>
      </c:layout>
      <c:barChart>
        <c:barDir val="bar"/>
        <c:grouping val="percentStacked"/>
        <c:varyColors val="0"/>
        <c:ser>
          <c:idx val="0"/>
          <c:order val="0"/>
          <c:tx>
            <c:strRef>
              <c:f>Sheet1!$B$1</c:f>
              <c:strCache>
                <c:ptCount val="1"/>
                <c:pt idx="0">
                  <c:v>Low</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9</c:f>
              <c:strCache>
                <c:ptCount val="18"/>
                <c:pt idx="0">
                  <c:v>Kerr-Tar</c:v>
                </c:pt>
                <c:pt idx="1">
                  <c:v>Upper Coastal Plain</c:v>
                </c:pt>
                <c:pt idx="2">
                  <c:v>Mid-Carolina</c:v>
                </c:pt>
                <c:pt idx="3">
                  <c:v>Isothermal</c:v>
                </c:pt>
                <c:pt idx="4">
                  <c:v>Southwestern Commission</c:v>
                </c:pt>
                <c:pt idx="5">
                  <c:v>Triangle J</c:v>
                </c:pt>
                <c:pt idx="6">
                  <c:v>Eastern Carolina</c:v>
                </c:pt>
                <c:pt idx="7">
                  <c:v>Albemarle Commission</c:v>
                </c:pt>
                <c:pt idx="8">
                  <c:v>Land-of-Sky Regional Council</c:v>
                </c:pt>
                <c:pt idx="9">
                  <c:v>Cape Fear</c:v>
                </c:pt>
                <c:pt idx="10">
                  <c:v>Lumber River</c:v>
                </c:pt>
                <c:pt idx="11">
                  <c:v>Mid-East Commission</c:v>
                </c:pt>
                <c:pt idx="12">
                  <c:v>Centralina Regional Councils</c:v>
                </c:pt>
                <c:pt idx="13">
                  <c:v>High Country</c:v>
                </c:pt>
                <c:pt idx="14">
                  <c:v>Western Piedmont</c:v>
                </c:pt>
                <c:pt idx="15">
                  <c:v>Piedmont Triad</c:v>
                </c:pt>
                <c:pt idx="16">
                  <c:v>North Carolina</c:v>
                </c:pt>
                <c:pt idx="17">
                  <c:v>United States</c:v>
                </c:pt>
              </c:strCache>
            </c:strRef>
          </c:cat>
          <c:val>
            <c:numRef>
              <c:f>Sheet1!$B$2:$B$19</c:f>
              <c:numCache>
                <c:formatCode>0.0</c:formatCode>
                <c:ptCount val="18"/>
                <c:pt idx="0">
                  <c:v>30.314096628469645</c:v>
                </c:pt>
                <c:pt idx="1">
                  <c:v>30.960644421059069</c:v>
                </c:pt>
                <c:pt idx="2">
                  <c:v>28.58171161727368</c:v>
                </c:pt>
                <c:pt idx="3">
                  <c:v>31.978328102044141</c:v>
                </c:pt>
                <c:pt idx="4">
                  <c:v>32.373298152238419</c:v>
                </c:pt>
                <c:pt idx="5">
                  <c:v>24.330786104599806</c:v>
                </c:pt>
                <c:pt idx="6">
                  <c:v>30.171108103702242</c:v>
                </c:pt>
                <c:pt idx="7">
                  <c:v>32.91095385390868</c:v>
                </c:pt>
                <c:pt idx="8">
                  <c:v>29.628013095545086</c:v>
                </c:pt>
                <c:pt idx="9">
                  <c:v>29.323990300360457</c:v>
                </c:pt>
                <c:pt idx="10">
                  <c:v>35.026325913018837</c:v>
                </c:pt>
                <c:pt idx="11">
                  <c:v>29.282072201161995</c:v>
                </c:pt>
                <c:pt idx="12">
                  <c:v>28.012340639791798</c:v>
                </c:pt>
                <c:pt idx="13">
                  <c:v>31.939325869692674</c:v>
                </c:pt>
                <c:pt idx="14">
                  <c:v>32.704076683468003</c:v>
                </c:pt>
                <c:pt idx="15" formatCode="#,##0.0">
                  <c:v>29.720613419499898</c:v>
                </c:pt>
                <c:pt idx="16">
                  <c:v>28.399462765329204</c:v>
                </c:pt>
                <c:pt idx="17">
                  <c:v>28.70828963274613</c:v>
                </c:pt>
              </c:numCache>
            </c:numRef>
          </c:val>
          <c:extLst>
            <c:ext xmlns:c16="http://schemas.microsoft.com/office/drawing/2014/chart" uri="{C3380CC4-5D6E-409C-BE32-E72D297353CC}">
              <c16:uniqueId val="{00000000-C2FE-475A-B0E0-E3DA432EC801}"/>
            </c:ext>
          </c:extLst>
        </c:ser>
        <c:ser>
          <c:idx val="1"/>
          <c:order val="1"/>
          <c:tx>
            <c:strRef>
              <c:f>Sheet1!$C$1</c:f>
              <c:strCache>
                <c:ptCount val="1"/>
                <c:pt idx="0">
                  <c:v>Middle</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9</c:f>
              <c:strCache>
                <c:ptCount val="18"/>
                <c:pt idx="0">
                  <c:v>Kerr-Tar</c:v>
                </c:pt>
                <c:pt idx="1">
                  <c:v>Upper Coastal Plain</c:v>
                </c:pt>
                <c:pt idx="2">
                  <c:v>Mid-Carolina</c:v>
                </c:pt>
                <c:pt idx="3">
                  <c:v>Isothermal</c:v>
                </c:pt>
                <c:pt idx="4">
                  <c:v>Southwestern Commission</c:v>
                </c:pt>
                <c:pt idx="5">
                  <c:v>Triangle J</c:v>
                </c:pt>
                <c:pt idx="6">
                  <c:v>Eastern Carolina</c:v>
                </c:pt>
                <c:pt idx="7">
                  <c:v>Albemarle Commission</c:v>
                </c:pt>
                <c:pt idx="8">
                  <c:v>Land-of-Sky Regional Council</c:v>
                </c:pt>
                <c:pt idx="9">
                  <c:v>Cape Fear</c:v>
                </c:pt>
                <c:pt idx="10">
                  <c:v>Lumber River</c:v>
                </c:pt>
                <c:pt idx="11">
                  <c:v>Mid-East Commission</c:v>
                </c:pt>
                <c:pt idx="12">
                  <c:v>Centralina Regional Councils</c:v>
                </c:pt>
                <c:pt idx="13">
                  <c:v>High Country</c:v>
                </c:pt>
                <c:pt idx="14">
                  <c:v>Western Piedmont</c:v>
                </c:pt>
                <c:pt idx="15">
                  <c:v>Piedmont Triad</c:v>
                </c:pt>
                <c:pt idx="16">
                  <c:v>North Carolina</c:v>
                </c:pt>
                <c:pt idx="17">
                  <c:v>United States</c:v>
                </c:pt>
              </c:strCache>
            </c:strRef>
          </c:cat>
          <c:val>
            <c:numRef>
              <c:f>Sheet1!$C$2:$C$19</c:f>
              <c:numCache>
                <c:formatCode>0.0</c:formatCode>
                <c:ptCount val="18"/>
                <c:pt idx="0">
                  <c:v>45.7002928486448</c:v>
                </c:pt>
                <c:pt idx="1">
                  <c:v>45.557727745627396</c:v>
                </c:pt>
                <c:pt idx="2">
                  <c:v>45.270184816211547</c:v>
                </c:pt>
                <c:pt idx="3">
                  <c:v>46.244984650327162</c:v>
                </c:pt>
                <c:pt idx="4">
                  <c:v>44.546569891908575</c:v>
                </c:pt>
                <c:pt idx="5">
                  <c:v>41.365709277686229</c:v>
                </c:pt>
                <c:pt idx="6">
                  <c:v>45.16990920274759</c:v>
                </c:pt>
                <c:pt idx="7">
                  <c:v>43.787238807310708</c:v>
                </c:pt>
                <c:pt idx="8">
                  <c:v>44.31646239558011</c:v>
                </c:pt>
                <c:pt idx="9">
                  <c:v>43.574620488157727</c:v>
                </c:pt>
                <c:pt idx="10">
                  <c:v>44.635105530535682</c:v>
                </c:pt>
                <c:pt idx="11">
                  <c:v>45.937316693430056</c:v>
                </c:pt>
                <c:pt idx="12">
                  <c:v>40.397465574823642</c:v>
                </c:pt>
                <c:pt idx="13">
                  <c:v>46.015500811198926</c:v>
                </c:pt>
                <c:pt idx="14">
                  <c:v>44.244379763958861</c:v>
                </c:pt>
                <c:pt idx="15" formatCode="#,##0.0">
                  <c:v>43.643962457113297</c:v>
                </c:pt>
                <c:pt idx="16">
                  <c:v>42.725477774104526</c:v>
                </c:pt>
                <c:pt idx="17">
                  <c:v>41.555902088108759</c:v>
                </c:pt>
              </c:numCache>
            </c:numRef>
          </c:val>
          <c:extLst>
            <c:ext xmlns:c16="http://schemas.microsoft.com/office/drawing/2014/chart" uri="{C3380CC4-5D6E-409C-BE32-E72D297353CC}">
              <c16:uniqueId val="{00000001-C2FE-475A-B0E0-E3DA432EC801}"/>
            </c:ext>
          </c:extLst>
        </c:ser>
        <c:ser>
          <c:idx val="2"/>
          <c:order val="2"/>
          <c:tx>
            <c:strRef>
              <c:f>Sheet1!$D$1</c:f>
              <c:strCache>
                <c:ptCount val="1"/>
                <c:pt idx="0">
                  <c:v>High</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9</c:f>
              <c:strCache>
                <c:ptCount val="18"/>
                <c:pt idx="0">
                  <c:v>Kerr-Tar</c:v>
                </c:pt>
                <c:pt idx="1">
                  <c:v>Upper Coastal Plain</c:v>
                </c:pt>
                <c:pt idx="2">
                  <c:v>Mid-Carolina</c:v>
                </c:pt>
                <c:pt idx="3">
                  <c:v>Isothermal</c:v>
                </c:pt>
                <c:pt idx="4">
                  <c:v>Southwestern Commission</c:v>
                </c:pt>
                <c:pt idx="5">
                  <c:v>Triangle J</c:v>
                </c:pt>
                <c:pt idx="6">
                  <c:v>Eastern Carolina</c:v>
                </c:pt>
                <c:pt idx="7">
                  <c:v>Albemarle Commission</c:v>
                </c:pt>
                <c:pt idx="8">
                  <c:v>Land-of-Sky Regional Council</c:v>
                </c:pt>
                <c:pt idx="9">
                  <c:v>Cape Fear</c:v>
                </c:pt>
                <c:pt idx="10">
                  <c:v>Lumber River</c:v>
                </c:pt>
                <c:pt idx="11">
                  <c:v>Mid-East Commission</c:v>
                </c:pt>
                <c:pt idx="12">
                  <c:v>Centralina Regional Councils</c:v>
                </c:pt>
                <c:pt idx="13">
                  <c:v>High Country</c:v>
                </c:pt>
                <c:pt idx="14">
                  <c:v>Western Piedmont</c:v>
                </c:pt>
                <c:pt idx="15">
                  <c:v>Piedmont Triad</c:v>
                </c:pt>
                <c:pt idx="16">
                  <c:v>North Carolina</c:v>
                </c:pt>
                <c:pt idx="17">
                  <c:v>United States</c:v>
                </c:pt>
              </c:strCache>
            </c:strRef>
          </c:cat>
          <c:val>
            <c:numRef>
              <c:f>Sheet1!$D$2:$D$19</c:f>
              <c:numCache>
                <c:formatCode>0.0</c:formatCode>
                <c:ptCount val="18"/>
                <c:pt idx="0">
                  <c:v>23.985610522885587</c:v>
                </c:pt>
                <c:pt idx="1">
                  <c:v>23.481627833313549</c:v>
                </c:pt>
                <c:pt idx="2">
                  <c:v>26.148103566514784</c:v>
                </c:pt>
                <c:pt idx="3">
                  <c:v>21.77668724762869</c:v>
                </c:pt>
                <c:pt idx="4">
                  <c:v>23.080131955853002</c:v>
                </c:pt>
                <c:pt idx="5">
                  <c:v>34.303504617713962</c:v>
                </c:pt>
                <c:pt idx="6">
                  <c:v>24.658982693550165</c:v>
                </c:pt>
                <c:pt idx="7">
                  <c:v>23.301807338780609</c:v>
                </c:pt>
                <c:pt idx="8">
                  <c:v>26.055524508874804</c:v>
                </c:pt>
                <c:pt idx="9">
                  <c:v>27.10138921148182</c:v>
                </c:pt>
                <c:pt idx="10">
                  <c:v>20.33856855644548</c:v>
                </c:pt>
                <c:pt idx="11">
                  <c:v>24.780611105407946</c:v>
                </c:pt>
                <c:pt idx="12">
                  <c:v>31.590193785384564</c:v>
                </c:pt>
                <c:pt idx="13">
                  <c:v>22.045173319108404</c:v>
                </c:pt>
                <c:pt idx="14">
                  <c:v>23.051543552573126</c:v>
                </c:pt>
                <c:pt idx="15" formatCode="#,##0.0">
                  <c:v>26.635424123386798</c:v>
                </c:pt>
                <c:pt idx="16">
                  <c:v>28.875059460566249</c:v>
                </c:pt>
                <c:pt idx="17">
                  <c:v>29.735808279145072</c:v>
                </c:pt>
              </c:numCache>
            </c:numRef>
          </c:val>
          <c:extLst>
            <c:ext xmlns:c16="http://schemas.microsoft.com/office/drawing/2014/chart" uri="{C3380CC4-5D6E-409C-BE32-E72D297353CC}">
              <c16:uniqueId val="{00000000-7FF8-4673-813A-20F4B1D13D30}"/>
            </c:ext>
          </c:extLst>
        </c:ser>
        <c:dLbls>
          <c:showLegendKey val="0"/>
          <c:showVal val="0"/>
          <c:showCatName val="0"/>
          <c:showSerName val="0"/>
          <c:showPercent val="0"/>
          <c:showBubbleSize val="0"/>
        </c:dLbls>
        <c:gapWidth val="80"/>
        <c:overlap val="100"/>
        <c:axId val="1113593248"/>
        <c:axId val="1113591584"/>
      </c:barChart>
      <c:catAx>
        <c:axId val="111359324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1113591584"/>
        <c:crosses val="autoZero"/>
        <c:auto val="1"/>
        <c:lblAlgn val="ctr"/>
        <c:lblOffset val="100"/>
        <c:noMultiLvlLbl val="0"/>
      </c:catAx>
      <c:valAx>
        <c:axId val="1113591584"/>
        <c:scaling>
          <c:orientation val="minMax"/>
        </c:scaling>
        <c:delete val="1"/>
        <c:axPos val="b"/>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crossAx val="111359324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percentStacked"/>
        <c:varyColors val="0"/>
        <c:ser>
          <c:idx val="0"/>
          <c:order val="0"/>
          <c:tx>
            <c:strRef>
              <c:f>Sheet1!$B$1</c:f>
              <c:strCache>
                <c:ptCount val="1"/>
                <c:pt idx="0">
                  <c:v>Less than High School</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9</c:f>
              <c:strCache>
                <c:ptCount val="18"/>
                <c:pt idx="0">
                  <c:v>Kerr-Tar</c:v>
                </c:pt>
                <c:pt idx="1">
                  <c:v>Upper Coastal Plain</c:v>
                </c:pt>
                <c:pt idx="2">
                  <c:v>Mid-Carolina</c:v>
                </c:pt>
                <c:pt idx="3">
                  <c:v>Isothermal Regional Commission</c:v>
                </c:pt>
                <c:pt idx="4">
                  <c:v>Southwestern Commission</c:v>
                </c:pt>
                <c:pt idx="5">
                  <c:v>Triangle J</c:v>
                </c:pt>
                <c:pt idx="6">
                  <c:v>Eastern Carolina</c:v>
                </c:pt>
                <c:pt idx="7">
                  <c:v>Albemarle Commission</c:v>
                </c:pt>
                <c:pt idx="8">
                  <c:v>Land-of-Sky Regional Council</c:v>
                </c:pt>
                <c:pt idx="9">
                  <c:v>Cape Fear</c:v>
                </c:pt>
                <c:pt idx="10">
                  <c:v>Lumber River</c:v>
                </c:pt>
                <c:pt idx="11">
                  <c:v>Mid-East Commission</c:v>
                </c:pt>
                <c:pt idx="12">
                  <c:v>Centralina Regional Councils</c:v>
                </c:pt>
                <c:pt idx="13">
                  <c:v>High Country</c:v>
                </c:pt>
                <c:pt idx="14">
                  <c:v>Western Piedmont</c:v>
                </c:pt>
                <c:pt idx="15">
                  <c:v>Piedmont Triad</c:v>
                </c:pt>
                <c:pt idx="16">
                  <c:v>North Carolina</c:v>
                </c:pt>
                <c:pt idx="17">
                  <c:v>United States</c:v>
                </c:pt>
              </c:strCache>
            </c:strRef>
          </c:cat>
          <c:val>
            <c:numRef>
              <c:f>Sheet1!$B$2:$B$19</c:f>
              <c:numCache>
                <c:formatCode>#,##0.0</c:formatCode>
                <c:ptCount val="18"/>
                <c:pt idx="0">
                  <c:v>13.829589061510376</c:v>
                </c:pt>
                <c:pt idx="1">
                  <c:v>16.219513399780705</c:v>
                </c:pt>
                <c:pt idx="2">
                  <c:v>10.156268724684226</c:v>
                </c:pt>
                <c:pt idx="3">
                  <c:v>13.492341868350286</c:v>
                </c:pt>
                <c:pt idx="4">
                  <c:v>11.161857779825715</c:v>
                </c:pt>
                <c:pt idx="5">
                  <c:v>7.9356314527929461</c:v>
                </c:pt>
                <c:pt idx="6">
                  <c:v>12.368361924113946</c:v>
                </c:pt>
                <c:pt idx="7">
                  <c:v>10.469232749742535</c:v>
                </c:pt>
                <c:pt idx="8">
                  <c:v>8.2964625644788814</c:v>
                </c:pt>
                <c:pt idx="9">
                  <c:v>8.113197016740445</c:v>
                </c:pt>
                <c:pt idx="10">
                  <c:v>18.285856719426487</c:v>
                </c:pt>
                <c:pt idx="11">
                  <c:v>12.385384028665653</c:v>
                </c:pt>
                <c:pt idx="12">
                  <c:v>10.207446849737639</c:v>
                </c:pt>
                <c:pt idx="13">
                  <c:v>13.913392960538415</c:v>
                </c:pt>
                <c:pt idx="14">
                  <c:v>15.561804244828782</c:v>
                </c:pt>
                <c:pt idx="15">
                  <c:v>12.398535677687288</c:v>
                </c:pt>
                <c:pt idx="16">
                  <c:v>10.962591300115909</c:v>
                </c:pt>
                <c:pt idx="17">
                  <c:v>11.12595967644428</c:v>
                </c:pt>
              </c:numCache>
            </c:numRef>
          </c:val>
          <c:extLst>
            <c:ext xmlns:c16="http://schemas.microsoft.com/office/drawing/2014/chart" uri="{C3380CC4-5D6E-409C-BE32-E72D297353CC}">
              <c16:uniqueId val="{00000000-DB59-4D1E-94C4-FDDF6616C3B1}"/>
            </c:ext>
          </c:extLst>
        </c:ser>
        <c:ser>
          <c:idx val="1"/>
          <c:order val="1"/>
          <c:tx>
            <c:strRef>
              <c:f>Sheet1!$C$1</c:f>
              <c:strCache>
                <c:ptCount val="1"/>
                <c:pt idx="0">
                  <c:v>High School</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9</c:f>
              <c:strCache>
                <c:ptCount val="18"/>
                <c:pt idx="0">
                  <c:v>Kerr-Tar</c:v>
                </c:pt>
                <c:pt idx="1">
                  <c:v>Upper Coastal Plain</c:v>
                </c:pt>
                <c:pt idx="2">
                  <c:v>Mid-Carolina</c:v>
                </c:pt>
                <c:pt idx="3">
                  <c:v>Isothermal Regional Commission</c:v>
                </c:pt>
                <c:pt idx="4">
                  <c:v>Southwestern Commission</c:v>
                </c:pt>
                <c:pt idx="5">
                  <c:v>Triangle J</c:v>
                </c:pt>
                <c:pt idx="6">
                  <c:v>Eastern Carolina</c:v>
                </c:pt>
                <c:pt idx="7">
                  <c:v>Albemarle Commission</c:v>
                </c:pt>
                <c:pt idx="8">
                  <c:v>Land-of-Sky Regional Council</c:v>
                </c:pt>
                <c:pt idx="9">
                  <c:v>Cape Fear</c:v>
                </c:pt>
                <c:pt idx="10">
                  <c:v>Lumber River</c:v>
                </c:pt>
                <c:pt idx="11">
                  <c:v>Mid-East Commission</c:v>
                </c:pt>
                <c:pt idx="12">
                  <c:v>Centralina Regional Councils</c:v>
                </c:pt>
                <c:pt idx="13">
                  <c:v>High Country</c:v>
                </c:pt>
                <c:pt idx="14">
                  <c:v>Western Piedmont</c:v>
                </c:pt>
                <c:pt idx="15">
                  <c:v>Piedmont Triad</c:v>
                </c:pt>
                <c:pt idx="16">
                  <c:v>North Carolina</c:v>
                </c:pt>
                <c:pt idx="17">
                  <c:v>United States</c:v>
                </c:pt>
              </c:strCache>
            </c:strRef>
          </c:cat>
          <c:val>
            <c:numRef>
              <c:f>Sheet1!$C$2:$C$19</c:f>
              <c:numCache>
                <c:formatCode>#,##0.0</c:formatCode>
                <c:ptCount val="18"/>
                <c:pt idx="0">
                  <c:v>32.692522633284895</c:v>
                </c:pt>
                <c:pt idx="1">
                  <c:v>34.573212292434285</c:v>
                </c:pt>
                <c:pt idx="2">
                  <c:v>28.238920978836614</c:v>
                </c:pt>
                <c:pt idx="3">
                  <c:v>32.821355387767916</c:v>
                </c:pt>
                <c:pt idx="4">
                  <c:v>29.817583043083467</c:v>
                </c:pt>
                <c:pt idx="5">
                  <c:v>17.08482928957093</c:v>
                </c:pt>
                <c:pt idx="6">
                  <c:v>29.198253292173032</c:v>
                </c:pt>
                <c:pt idx="7">
                  <c:v>29.757498712667353</c:v>
                </c:pt>
                <c:pt idx="8">
                  <c:v>24.053513231852644</c:v>
                </c:pt>
                <c:pt idx="9">
                  <c:v>24.698545675654241</c:v>
                </c:pt>
                <c:pt idx="10">
                  <c:v>32.070421085143622</c:v>
                </c:pt>
                <c:pt idx="11">
                  <c:v>28.565784491793742</c:v>
                </c:pt>
                <c:pt idx="12">
                  <c:v>22.581013943466569</c:v>
                </c:pt>
                <c:pt idx="13">
                  <c:v>29.554294589273916</c:v>
                </c:pt>
                <c:pt idx="14">
                  <c:v>31.78344439736528</c:v>
                </c:pt>
                <c:pt idx="15">
                  <c:v>28.125337090771801</c:v>
                </c:pt>
                <c:pt idx="16">
                  <c:v>25.231126134035375</c:v>
                </c:pt>
                <c:pt idx="17">
                  <c:v>26.487129599470212</c:v>
                </c:pt>
              </c:numCache>
            </c:numRef>
          </c:val>
          <c:extLst>
            <c:ext xmlns:c16="http://schemas.microsoft.com/office/drawing/2014/chart" uri="{C3380CC4-5D6E-409C-BE32-E72D297353CC}">
              <c16:uniqueId val="{00000001-DB59-4D1E-94C4-FDDF6616C3B1}"/>
            </c:ext>
          </c:extLst>
        </c:ser>
        <c:ser>
          <c:idx val="2"/>
          <c:order val="2"/>
          <c:tx>
            <c:strRef>
              <c:f>Sheet1!$D$1</c:f>
              <c:strCache>
                <c:ptCount val="1"/>
                <c:pt idx="0">
                  <c:v>Some College</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9</c:f>
              <c:strCache>
                <c:ptCount val="18"/>
                <c:pt idx="0">
                  <c:v>Kerr-Tar</c:v>
                </c:pt>
                <c:pt idx="1">
                  <c:v>Upper Coastal Plain</c:v>
                </c:pt>
                <c:pt idx="2">
                  <c:v>Mid-Carolina</c:v>
                </c:pt>
                <c:pt idx="3">
                  <c:v>Isothermal Regional Commission</c:v>
                </c:pt>
                <c:pt idx="4">
                  <c:v>Southwestern Commission</c:v>
                </c:pt>
                <c:pt idx="5">
                  <c:v>Triangle J</c:v>
                </c:pt>
                <c:pt idx="6">
                  <c:v>Eastern Carolina</c:v>
                </c:pt>
                <c:pt idx="7">
                  <c:v>Albemarle Commission</c:v>
                </c:pt>
                <c:pt idx="8">
                  <c:v>Land-of-Sky Regional Council</c:v>
                </c:pt>
                <c:pt idx="9">
                  <c:v>Cape Fear</c:v>
                </c:pt>
                <c:pt idx="10">
                  <c:v>Lumber River</c:v>
                </c:pt>
                <c:pt idx="11">
                  <c:v>Mid-East Commission</c:v>
                </c:pt>
                <c:pt idx="12">
                  <c:v>Centralina Regional Councils</c:v>
                </c:pt>
                <c:pt idx="13">
                  <c:v>High Country</c:v>
                </c:pt>
                <c:pt idx="14">
                  <c:v>Western Piedmont</c:v>
                </c:pt>
                <c:pt idx="15">
                  <c:v>Piedmont Triad</c:v>
                </c:pt>
                <c:pt idx="16">
                  <c:v>North Carolina</c:v>
                </c:pt>
                <c:pt idx="17">
                  <c:v>United States</c:v>
                </c:pt>
              </c:strCache>
            </c:strRef>
          </c:cat>
          <c:val>
            <c:numRef>
              <c:f>Sheet1!$D$2:$D$19</c:f>
              <c:numCache>
                <c:formatCode>#,##0.0</c:formatCode>
                <c:ptCount val="18"/>
                <c:pt idx="0">
                  <c:v>33.178719123728619</c:v>
                </c:pt>
                <c:pt idx="1">
                  <c:v>30.253474657473355</c:v>
                </c:pt>
                <c:pt idx="2">
                  <c:v>37.812777125326555</c:v>
                </c:pt>
                <c:pt idx="3">
                  <c:v>33.405330231928474</c:v>
                </c:pt>
                <c:pt idx="4">
                  <c:v>33.587217260493041</c:v>
                </c:pt>
                <c:pt idx="5">
                  <c:v>25.759600501269951</c:v>
                </c:pt>
                <c:pt idx="6">
                  <c:v>36.14063537962565</c:v>
                </c:pt>
                <c:pt idx="7">
                  <c:v>34.100637229660144</c:v>
                </c:pt>
                <c:pt idx="8">
                  <c:v>28.830731567441902</c:v>
                </c:pt>
                <c:pt idx="9">
                  <c:v>32.640196455690251</c:v>
                </c:pt>
                <c:pt idx="10">
                  <c:v>33.349228109912382</c:v>
                </c:pt>
                <c:pt idx="11">
                  <c:v>32.90733597089536</c:v>
                </c:pt>
                <c:pt idx="12">
                  <c:v>29.838811769660232</c:v>
                </c:pt>
                <c:pt idx="13">
                  <c:v>31.798148513974699</c:v>
                </c:pt>
                <c:pt idx="14">
                  <c:v>32.555371518816692</c:v>
                </c:pt>
                <c:pt idx="15">
                  <c:v>31.506104713877352</c:v>
                </c:pt>
                <c:pt idx="16">
                  <c:v>30.789995477690791</c:v>
                </c:pt>
                <c:pt idx="17">
                  <c:v>28.716889020511388</c:v>
                </c:pt>
              </c:numCache>
            </c:numRef>
          </c:val>
          <c:extLst>
            <c:ext xmlns:c16="http://schemas.microsoft.com/office/drawing/2014/chart" uri="{C3380CC4-5D6E-409C-BE32-E72D297353CC}">
              <c16:uniqueId val="{00000002-DB59-4D1E-94C4-FDDF6616C3B1}"/>
            </c:ext>
          </c:extLst>
        </c:ser>
        <c:ser>
          <c:idx val="3"/>
          <c:order val="3"/>
          <c:tx>
            <c:strRef>
              <c:f>Sheet1!$E$1</c:f>
              <c:strCache>
                <c:ptCount val="1"/>
                <c:pt idx="0">
                  <c:v>Bachelor's or Higher</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9</c:f>
              <c:strCache>
                <c:ptCount val="18"/>
                <c:pt idx="0">
                  <c:v>Kerr-Tar</c:v>
                </c:pt>
                <c:pt idx="1">
                  <c:v>Upper Coastal Plain</c:v>
                </c:pt>
                <c:pt idx="2">
                  <c:v>Mid-Carolina</c:v>
                </c:pt>
                <c:pt idx="3">
                  <c:v>Isothermal Regional Commission</c:v>
                </c:pt>
                <c:pt idx="4">
                  <c:v>Southwestern Commission</c:v>
                </c:pt>
                <c:pt idx="5">
                  <c:v>Triangle J</c:v>
                </c:pt>
                <c:pt idx="6">
                  <c:v>Eastern Carolina</c:v>
                </c:pt>
                <c:pt idx="7">
                  <c:v>Albemarle Commission</c:v>
                </c:pt>
                <c:pt idx="8">
                  <c:v>Land-of-Sky Regional Council</c:v>
                </c:pt>
                <c:pt idx="9">
                  <c:v>Cape Fear</c:v>
                </c:pt>
                <c:pt idx="10">
                  <c:v>Lumber River</c:v>
                </c:pt>
                <c:pt idx="11">
                  <c:v>Mid-East Commission</c:v>
                </c:pt>
                <c:pt idx="12">
                  <c:v>Centralina Regional Councils</c:v>
                </c:pt>
                <c:pt idx="13">
                  <c:v>High Country</c:v>
                </c:pt>
                <c:pt idx="14">
                  <c:v>Western Piedmont</c:v>
                </c:pt>
                <c:pt idx="15">
                  <c:v>Piedmont Triad</c:v>
                </c:pt>
                <c:pt idx="16">
                  <c:v>North Carolina</c:v>
                </c:pt>
                <c:pt idx="17">
                  <c:v>United States</c:v>
                </c:pt>
              </c:strCache>
            </c:strRef>
          </c:cat>
          <c:val>
            <c:numRef>
              <c:f>Sheet1!$E$2:$E$19</c:f>
              <c:numCache>
                <c:formatCode>#,##0.0</c:formatCode>
                <c:ptCount val="18"/>
                <c:pt idx="0">
                  <c:v>20.299169181476103</c:v>
                </c:pt>
                <c:pt idx="1">
                  <c:v>18.953799650311655</c:v>
                </c:pt>
                <c:pt idx="2">
                  <c:v>23.792033171152603</c:v>
                </c:pt>
                <c:pt idx="3">
                  <c:v>20.280972511953333</c:v>
                </c:pt>
                <c:pt idx="4">
                  <c:v>25.433341916597772</c:v>
                </c:pt>
                <c:pt idx="5">
                  <c:v>49.219938756366169</c:v>
                </c:pt>
                <c:pt idx="6">
                  <c:v>22.292749404087374</c:v>
                </c:pt>
                <c:pt idx="7">
                  <c:v>25.672631307929972</c:v>
                </c:pt>
                <c:pt idx="8">
                  <c:v>38.819292636226571</c:v>
                </c:pt>
                <c:pt idx="9">
                  <c:v>34.548060851915061</c:v>
                </c:pt>
                <c:pt idx="10">
                  <c:v>16.29449408551751</c:v>
                </c:pt>
                <c:pt idx="11">
                  <c:v>26.141495508645242</c:v>
                </c:pt>
                <c:pt idx="12">
                  <c:v>37.372727437135552</c:v>
                </c:pt>
                <c:pt idx="13">
                  <c:v>24.734163936212969</c:v>
                </c:pt>
                <c:pt idx="14">
                  <c:v>20.099379838989254</c:v>
                </c:pt>
                <c:pt idx="15">
                  <c:v>27.970022517663555</c:v>
                </c:pt>
                <c:pt idx="16">
                  <c:v>33.016287088157931</c:v>
                </c:pt>
                <c:pt idx="17">
                  <c:v>33.670021703574122</c:v>
                </c:pt>
              </c:numCache>
            </c:numRef>
          </c:val>
          <c:extLst>
            <c:ext xmlns:c16="http://schemas.microsoft.com/office/drawing/2014/chart" uri="{C3380CC4-5D6E-409C-BE32-E72D297353CC}">
              <c16:uniqueId val="{00000003-DB59-4D1E-94C4-FDDF6616C3B1}"/>
            </c:ext>
          </c:extLst>
        </c:ser>
        <c:dLbls>
          <c:showLegendKey val="0"/>
          <c:showVal val="0"/>
          <c:showCatName val="0"/>
          <c:showSerName val="0"/>
          <c:showPercent val="0"/>
          <c:showBubbleSize val="0"/>
        </c:dLbls>
        <c:gapWidth val="60"/>
        <c:overlap val="100"/>
        <c:axId val="979383072"/>
        <c:axId val="979383488"/>
      </c:barChart>
      <c:catAx>
        <c:axId val="979383072"/>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979383488"/>
        <c:crosses val="autoZero"/>
        <c:auto val="1"/>
        <c:lblAlgn val="ctr"/>
        <c:lblOffset val="100"/>
        <c:noMultiLvlLbl val="0"/>
      </c:catAx>
      <c:valAx>
        <c:axId val="979383488"/>
        <c:scaling>
          <c:orientation val="minMax"/>
        </c:scaling>
        <c:delete val="0"/>
        <c:axPos val="b"/>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97938307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stacked"/>
        <c:varyColors val="0"/>
        <c:ser>
          <c:idx val="0"/>
          <c:order val="0"/>
          <c:tx>
            <c:strRef>
              <c:f>Sheet1!$B$1</c:f>
              <c:strCache>
                <c:ptCount val="1"/>
                <c:pt idx="0">
                  <c:v>Pre-K through 4th Grade, No Computer or Internet</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9</c:f>
              <c:strCache>
                <c:ptCount val="18"/>
                <c:pt idx="0">
                  <c:v>Kerr-Tar</c:v>
                </c:pt>
                <c:pt idx="1">
                  <c:v>Upper Coastal Plain</c:v>
                </c:pt>
                <c:pt idx="2">
                  <c:v>Mid-Carolina</c:v>
                </c:pt>
                <c:pt idx="3">
                  <c:v>Isothermal Regional Commission</c:v>
                </c:pt>
                <c:pt idx="4">
                  <c:v>Southwestern Commission</c:v>
                </c:pt>
                <c:pt idx="5">
                  <c:v>Triangle J</c:v>
                </c:pt>
                <c:pt idx="6">
                  <c:v>Eastern Carolina</c:v>
                </c:pt>
                <c:pt idx="7">
                  <c:v>Albemarle Commission</c:v>
                </c:pt>
                <c:pt idx="8">
                  <c:v>Land-of-Sky Regional Council</c:v>
                </c:pt>
                <c:pt idx="9">
                  <c:v>Cape Fear</c:v>
                </c:pt>
                <c:pt idx="10">
                  <c:v>Lumber River</c:v>
                </c:pt>
                <c:pt idx="11">
                  <c:v>Mid-East Commission</c:v>
                </c:pt>
                <c:pt idx="12">
                  <c:v>Centralina Regional Councils</c:v>
                </c:pt>
                <c:pt idx="13">
                  <c:v>High Country</c:v>
                </c:pt>
                <c:pt idx="14">
                  <c:v>Western Piedmont</c:v>
                </c:pt>
                <c:pt idx="15">
                  <c:v>Piedmont Triad</c:v>
                </c:pt>
                <c:pt idx="16">
                  <c:v>North Carolina</c:v>
                </c:pt>
                <c:pt idx="17">
                  <c:v>United States</c:v>
                </c:pt>
              </c:strCache>
            </c:strRef>
          </c:cat>
          <c:val>
            <c:numRef>
              <c:f>Sheet1!$B$2:$B$19</c:f>
              <c:numCache>
                <c:formatCode>#,##0.0</c:formatCode>
                <c:ptCount val="18"/>
                <c:pt idx="0">
                  <c:v>10.761904761904761</c:v>
                </c:pt>
                <c:pt idx="1">
                  <c:v>16.314257076034558</c:v>
                </c:pt>
                <c:pt idx="2">
                  <c:v>7.3886297573176494</c:v>
                </c:pt>
                <c:pt idx="3">
                  <c:v>13.303871776268055</c:v>
                </c:pt>
                <c:pt idx="4">
                  <c:v>11.509880087823003</c:v>
                </c:pt>
                <c:pt idx="5">
                  <c:v>4.8914378822951283</c:v>
                </c:pt>
                <c:pt idx="6">
                  <c:v>7.803002641809317</c:v>
                </c:pt>
                <c:pt idx="7">
                  <c:v>6.5815983881799864</c:v>
                </c:pt>
                <c:pt idx="8">
                  <c:v>8.5403901815584717</c:v>
                </c:pt>
                <c:pt idx="9">
                  <c:v>8.3120670798395917</c:v>
                </c:pt>
                <c:pt idx="10">
                  <c:v>15.667400073340668</c:v>
                </c:pt>
                <c:pt idx="11">
                  <c:v>9.1984794131819889</c:v>
                </c:pt>
                <c:pt idx="12">
                  <c:v>5.3620681078272598</c:v>
                </c:pt>
                <c:pt idx="13">
                  <c:v>8.0441238862961395</c:v>
                </c:pt>
                <c:pt idx="14">
                  <c:v>6.4254121431443503</c:v>
                </c:pt>
                <c:pt idx="15">
                  <c:v>9.6004653246661373</c:v>
                </c:pt>
                <c:pt idx="16">
                  <c:v>7.6134563169347897</c:v>
                </c:pt>
                <c:pt idx="17">
                  <c:v>6.7632019873283902</c:v>
                </c:pt>
              </c:numCache>
            </c:numRef>
          </c:val>
          <c:extLst>
            <c:ext xmlns:c16="http://schemas.microsoft.com/office/drawing/2014/chart" uri="{C3380CC4-5D6E-409C-BE32-E72D297353CC}">
              <c16:uniqueId val="{00000000-A9DA-4696-B2E6-397826F19973}"/>
            </c:ext>
          </c:extLst>
        </c:ser>
        <c:ser>
          <c:idx val="1"/>
          <c:order val="1"/>
          <c:tx>
            <c:strRef>
              <c:f>Sheet1!$C$1</c:f>
              <c:strCache>
                <c:ptCount val="1"/>
                <c:pt idx="0">
                  <c:v>Grade 5 through 8th, No Computer or Internet</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9</c:f>
              <c:strCache>
                <c:ptCount val="18"/>
                <c:pt idx="0">
                  <c:v>Kerr-Tar</c:v>
                </c:pt>
                <c:pt idx="1">
                  <c:v>Upper Coastal Plain</c:v>
                </c:pt>
                <c:pt idx="2">
                  <c:v>Mid-Carolina</c:v>
                </c:pt>
                <c:pt idx="3">
                  <c:v>Isothermal Regional Commission</c:v>
                </c:pt>
                <c:pt idx="4">
                  <c:v>Southwestern Commission</c:v>
                </c:pt>
                <c:pt idx="5">
                  <c:v>Triangle J</c:v>
                </c:pt>
                <c:pt idx="6">
                  <c:v>Eastern Carolina</c:v>
                </c:pt>
                <c:pt idx="7">
                  <c:v>Albemarle Commission</c:v>
                </c:pt>
                <c:pt idx="8">
                  <c:v>Land-of-Sky Regional Council</c:v>
                </c:pt>
                <c:pt idx="9">
                  <c:v>Cape Fear</c:v>
                </c:pt>
                <c:pt idx="10">
                  <c:v>Lumber River</c:v>
                </c:pt>
                <c:pt idx="11">
                  <c:v>Mid-East Commission</c:v>
                </c:pt>
                <c:pt idx="12">
                  <c:v>Centralina Regional Councils</c:v>
                </c:pt>
                <c:pt idx="13">
                  <c:v>High Country</c:v>
                </c:pt>
                <c:pt idx="14">
                  <c:v>Western Piedmont</c:v>
                </c:pt>
                <c:pt idx="15">
                  <c:v>Piedmont Triad</c:v>
                </c:pt>
                <c:pt idx="16">
                  <c:v>North Carolina</c:v>
                </c:pt>
                <c:pt idx="17">
                  <c:v>United States</c:v>
                </c:pt>
              </c:strCache>
            </c:strRef>
          </c:cat>
          <c:val>
            <c:numRef>
              <c:f>Sheet1!$C$2:$C$19</c:f>
              <c:numCache>
                <c:formatCode>#,##0.0</c:formatCode>
                <c:ptCount val="18"/>
                <c:pt idx="0">
                  <c:v>7.6195219123505975</c:v>
                </c:pt>
                <c:pt idx="1">
                  <c:v>13.717421124828533</c:v>
                </c:pt>
                <c:pt idx="2">
                  <c:v>8.4296091317883093</c:v>
                </c:pt>
                <c:pt idx="3">
                  <c:v>8.603456328818309</c:v>
                </c:pt>
                <c:pt idx="4">
                  <c:v>11.238766920714367</c:v>
                </c:pt>
                <c:pt idx="5">
                  <c:v>4.9268872235423133</c:v>
                </c:pt>
                <c:pt idx="6">
                  <c:v>7.4248120300751879</c:v>
                </c:pt>
                <c:pt idx="7">
                  <c:v>6.1866241312521364</c:v>
                </c:pt>
                <c:pt idx="8">
                  <c:v>8.5563642615622673</c:v>
                </c:pt>
                <c:pt idx="9">
                  <c:v>6.7436267436267432</c:v>
                </c:pt>
                <c:pt idx="10">
                  <c:v>13.810400660359386</c:v>
                </c:pt>
                <c:pt idx="11">
                  <c:v>7.5655485571993557</c:v>
                </c:pt>
                <c:pt idx="12">
                  <c:v>4.8130185578580305</c:v>
                </c:pt>
                <c:pt idx="13">
                  <c:v>9.5261907738467304</c:v>
                </c:pt>
                <c:pt idx="14">
                  <c:v>4.6039153198269975</c:v>
                </c:pt>
                <c:pt idx="15">
                  <c:v>9.169546239883605</c:v>
                </c:pt>
                <c:pt idx="16">
                  <c:v>7.0258056619938429</c:v>
                </c:pt>
                <c:pt idx="17">
                  <c:v>6.4400531487874915</c:v>
                </c:pt>
              </c:numCache>
            </c:numRef>
          </c:val>
          <c:extLst>
            <c:ext xmlns:c16="http://schemas.microsoft.com/office/drawing/2014/chart" uri="{C3380CC4-5D6E-409C-BE32-E72D297353CC}">
              <c16:uniqueId val="{00000001-A9DA-4696-B2E6-397826F19973}"/>
            </c:ext>
          </c:extLst>
        </c:ser>
        <c:ser>
          <c:idx val="2"/>
          <c:order val="2"/>
          <c:tx>
            <c:strRef>
              <c:f>Sheet1!$D$1</c:f>
              <c:strCache>
                <c:ptCount val="1"/>
                <c:pt idx="0">
                  <c:v>Grade 9 through 12th, No Computer or Internet</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9</c:f>
              <c:strCache>
                <c:ptCount val="18"/>
                <c:pt idx="0">
                  <c:v>Kerr-Tar</c:v>
                </c:pt>
                <c:pt idx="1">
                  <c:v>Upper Coastal Plain</c:v>
                </c:pt>
                <c:pt idx="2">
                  <c:v>Mid-Carolina</c:v>
                </c:pt>
                <c:pt idx="3">
                  <c:v>Isothermal Regional Commission</c:v>
                </c:pt>
                <c:pt idx="4">
                  <c:v>Southwestern Commission</c:v>
                </c:pt>
                <c:pt idx="5">
                  <c:v>Triangle J</c:v>
                </c:pt>
                <c:pt idx="6">
                  <c:v>Eastern Carolina</c:v>
                </c:pt>
                <c:pt idx="7">
                  <c:v>Albemarle Commission</c:v>
                </c:pt>
                <c:pt idx="8">
                  <c:v>Land-of-Sky Regional Council</c:v>
                </c:pt>
                <c:pt idx="9">
                  <c:v>Cape Fear</c:v>
                </c:pt>
                <c:pt idx="10">
                  <c:v>Lumber River</c:v>
                </c:pt>
                <c:pt idx="11">
                  <c:v>Mid-East Commission</c:v>
                </c:pt>
                <c:pt idx="12">
                  <c:v>Centralina Regional Councils</c:v>
                </c:pt>
                <c:pt idx="13">
                  <c:v>High Country</c:v>
                </c:pt>
                <c:pt idx="14">
                  <c:v>Western Piedmont</c:v>
                </c:pt>
                <c:pt idx="15">
                  <c:v>Piedmont Triad</c:v>
                </c:pt>
                <c:pt idx="16">
                  <c:v>North Carolina</c:v>
                </c:pt>
                <c:pt idx="17">
                  <c:v>United States</c:v>
                </c:pt>
              </c:strCache>
            </c:strRef>
          </c:cat>
          <c:val>
            <c:numRef>
              <c:f>Sheet1!$D$2:$D$19</c:f>
              <c:numCache>
                <c:formatCode>#,##0.0</c:formatCode>
                <c:ptCount val="18"/>
                <c:pt idx="0">
                  <c:v>6.4709862967349014</c:v>
                </c:pt>
                <c:pt idx="1">
                  <c:v>12.297332635983263</c:v>
                </c:pt>
                <c:pt idx="2">
                  <c:v>8.3762181101500044</c:v>
                </c:pt>
                <c:pt idx="3">
                  <c:v>12.206047032474803</c:v>
                </c:pt>
                <c:pt idx="4">
                  <c:v>11.27508854781582</c:v>
                </c:pt>
                <c:pt idx="5">
                  <c:v>4.4770743870342153</c:v>
                </c:pt>
                <c:pt idx="6">
                  <c:v>5.6291734422032311</c:v>
                </c:pt>
                <c:pt idx="7">
                  <c:v>6.6095327541676445</c:v>
                </c:pt>
                <c:pt idx="8">
                  <c:v>4.1406489917084652</c:v>
                </c:pt>
                <c:pt idx="9">
                  <c:v>5.1178109956929312</c:v>
                </c:pt>
                <c:pt idx="10">
                  <c:v>13.201298701298702</c:v>
                </c:pt>
                <c:pt idx="11">
                  <c:v>10.818971866254234</c:v>
                </c:pt>
                <c:pt idx="12">
                  <c:v>4.309511444892741</c:v>
                </c:pt>
                <c:pt idx="13">
                  <c:v>5.9049615653389242</c:v>
                </c:pt>
                <c:pt idx="14">
                  <c:v>4.0208529754312012</c:v>
                </c:pt>
                <c:pt idx="15">
                  <c:v>8.6611490311163877</c:v>
                </c:pt>
                <c:pt idx="16">
                  <c:v>6.4229869368409744</c:v>
                </c:pt>
                <c:pt idx="17">
                  <c:v>5.9494230626393074</c:v>
                </c:pt>
              </c:numCache>
            </c:numRef>
          </c:val>
          <c:extLst>
            <c:ext xmlns:c16="http://schemas.microsoft.com/office/drawing/2014/chart" uri="{C3380CC4-5D6E-409C-BE32-E72D297353CC}">
              <c16:uniqueId val="{00000002-A9DA-4696-B2E6-397826F19973}"/>
            </c:ext>
          </c:extLst>
        </c:ser>
        <c:dLbls>
          <c:showLegendKey val="0"/>
          <c:showVal val="0"/>
          <c:showCatName val="0"/>
          <c:showSerName val="0"/>
          <c:showPercent val="0"/>
          <c:showBubbleSize val="0"/>
        </c:dLbls>
        <c:gapWidth val="60"/>
        <c:overlap val="100"/>
        <c:axId val="979383072"/>
        <c:axId val="979383488"/>
      </c:barChart>
      <c:catAx>
        <c:axId val="979383072"/>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979383488"/>
        <c:crosses val="autoZero"/>
        <c:auto val="1"/>
        <c:lblAlgn val="ctr"/>
        <c:lblOffset val="100"/>
        <c:noMultiLvlLbl val="0"/>
      </c:catAx>
      <c:valAx>
        <c:axId val="979383488"/>
        <c:scaling>
          <c:orientation val="minMax"/>
        </c:scaling>
        <c:delete val="1"/>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crossAx val="97938307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stacked"/>
        <c:varyColors val="0"/>
        <c:ser>
          <c:idx val="0"/>
          <c:order val="0"/>
          <c:tx>
            <c:strRef>
              <c:f>Sheet1!$B$1</c:f>
              <c:strCache>
                <c:ptCount val="1"/>
                <c:pt idx="0">
                  <c:v>White Alone</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9</c:f>
              <c:strCache>
                <c:ptCount val="18"/>
                <c:pt idx="0">
                  <c:v>Kerr-Tar</c:v>
                </c:pt>
                <c:pt idx="1">
                  <c:v>Upper Coastal Plain</c:v>
                </c:pt>
                <c:pt idx="2">
                  <c:v>Mid-Carolina</c:v>
                </c:pt>
                <c:pt idx="3">
                  <c:v>Isothermal Regional Commission</c:v>
                </c:pt>
                <c:pt idx="4">
                  <c:v>Southwestern Commission</c:v>
                </c:pt>
                <c:pt idx="5">
                  <c:v>Triangle J</c:v>
                </c:pt>
                <c:pt idx="6">
                  <c:v>Eastern Carolina</c:v>
                </c:pt>
                <c:pt idx="7">
                  <c:v>Albemarle Commission</c:v>
                </c:pt>
                <c:pt idx="8">
                  <c:v>Land-of-Sky Regional Council</c:v>
                </c:pt>
                <c:pt idx="9">
                  <c:v>Cape Fear</c:v>
                </c:pt>
                <c:pt idx="10">
                  <c:v>Lumber River</c:v>
                </c:pt>
                <c:pt idx="11">
                  <c:v>Mid-East Commission</c:v>
                </c:pt>
                <c:pt idx="12">
                  <c:v>Centralina Regional Councils</c:v>
                </c:pt>
                <c:pt idx="13">
                  <c:v>High Country</c:v>
                </c:pt>
                <c:pt idx="14">
                  <c:v>Western Piedmont</c:v>
                </c:pt>
                <c:pt idx="15">
                  <c:v>Piedmont Triad</c:v>
                </c:pt>
                <c:pt idx="16">
                  <c:v>North Carolina</c:v>
                </c:pt>
                <c:pt idx="17">
                  <c:v>United States</c:v>
                </c:pt>
              </c:strCache>
            </c:strRef>
          </c:cat>
          <c:val>
            <c:numRef>
              <c:f>Sheet1!$B$2:$B$19</c:f>
              <c:numCache>
                <c:formatCode>#,##0.0</c:formatCode>
                <c:ptCount val="18"/>
                <c:pt idx="0">
                  <c:v>5.0156398325526386</c:v>
                </c:pt>
                <c:pt idx="1">
                  <c:v>7.702796412737742</c:v>
                </c:pt>
                <c:pt idx="2">
                  <c:v>6.8714562171035292</c:v>
                </c:pt>
                <c:pt idx="3">
                  <c:v>10.20101302221954</c:v>
                </c:pt>
                <c:pt idx="4">
                  <c:v>9.8651062660315141</c:v>
                </c:pt>
                <c:pt idx="5">
                  <c:v>4.5115290228361733</c:v>
                </c:pt>
                <c:pt idx="6">
                  <c:v>5.9179660507372001</c:v>
                </c:pt>
                <c:pt idx="7">
                  <c:v>5.7497509133178344</c:v>
                </c:pt>
                <c:pt idx="8">
                  <c:v>5.5319148936170208</c:v>
                </c:pt>
                <c:pt idx="9">
                  <c:v>5.1009823662212463</c:v>
                </c:pt>
                <c:pt idx="10">
                  <c:v>7.8426229508196723</c:v>
                </c:pt>
                <c:pt idx="11">
                  <c:v>8.4022255915586701</c:v>
                </c:pt>
                <c:pt idx="12">
                  <c:v>3.572189954864788</c:v>
                </c:pt>
                <c:pt idx="13">
                  <c:v>6.7387141051306676</c:v>
                </c:pt>
                <c:pt idx="14">
                  <c:v>5.7989250476084173</c:v>
                </c:pt>
                <c:pt idx="15">
                  <c:v>6.7411782290116102</c:v>
                </c:pt>
                <c:pt idx="16">
                  <c:v>5.6038633516447804</c:v>
                </c:pt>
                <c:pt idx="17">
                  <c:v>5.1048696248406324</c:v>
                </c:pt>
              </c:numCache>
            </c:numRef>
          </c:val>
          <c:extLst>
            <c:ext xmlns:c16="http://schemas.microsoft.com/office/drawing/2014/chart" uri="{C3380CC4-5D6E-409C-BE32-E72D297353CC}">
              <c16:uniqueId val="{00000000-5D06-4784-A0C0-01F03C8BDE3E}"/>
            </c:ext>
          </c:extLst>
        </c:ser>
        <c:ser>
          <c:idx val="1"/>
          <c:order val="1"/>
          <c:tx>
            <c:strRef>
              <c:f>Sheet1!$C$1</c:f>
              <c:strCache>
                <c:ptCount val="1"/>
                <c:pt idx="0">
                  <c:v>Black Alone</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9</c:f>
              <c:strCache>
                <c:ptCount val="18"/>
                <c:pt idx="0">
                  <c:v>Kerr-Tar</c:v>
                </c:pt>
                <c:pt idx="1">
                  <c:v>Upper Coastal Plain</c:v>
                </c:pt>
                <c:pt idx="2">
                  <c:v>Mid-Carolina</c:v>
                </c:pt>
                <c:pt idx="3">
                  <c:v>Isothermal Regional Commission</c:v>
                </c:pt>
                <c:pt idx="4">
                  <c:v>Southwestern Commission</c:v>
                </c:pt>
                <c:pt idx="5">
                  <c:v>Triangle J</c:v>
                </c:pt>
                <c:pt idx="6">
                  <c:v>Eastern Carolina</c:v>
                </c:pt>
                <c:pt idx="7">
                  <c:v>Albemarle Commission</c:v>
                </c:pt>
                <c:pt idx="8">
                  <c:v>Land-of-Sky Regional Council</c:v>
                </c:pt>
                <c:pt idx="9">
                  <c:v>Cape Fear</c:v>
                </c:pt>
                <c:pt idx="10">
                  <c:v>Lumber River</c:v>
                </c:pt>
                <c:pt idx="11">
                  <c:v>Mid-East Commission</c:v>
                </c:pt>
                <c:pt idx="12">
                  <c:v>Centralina Regional Councils</c:v>
                </c:pt>
                <c:pt idx="13">
                  <c:v>High Country</c:v>
                </c:pt>
                <c:pt idx="14">
                  <c:v>Western Piedmont</c:v>
                </c:pt>
                <c:pt idx="15">
                  <c:v>Piedmont Triad</c:v>
                </c:pt>
                <c:pt idx="16">
                  <c:v>North Carolina</c:v>
                </c:pt>
                <c:pt idx="17">
                  <c:v>United States</c:v>
                </c:pt>
              </c:strCache>
            </c:strRef>
          </c:cat>
          <c:val>
            <c:numRef>
              <c:f>Sheet1!$C$2:$C$19</c:f>
              <c:numCache>
                <c:formatCode>#,##0.0</c:formatCode>
                <c:ptCount val="18"/>
                <c:pt idx="0">
                  <c:v>8.0998205378213015</c:v>
                </c:pt>
                <c:pt idx="1">
                  <c:v>14.489841141276525</c:v>
                </c:pt>
                <c:pt idx="2">
                  <c:v>8.2833851314686004</c:v>
                </c:pt>
                <c:pt idx="3">
                  <c:v>14.435897435897434</c:v>
                </c:pt>
                <c:pt idx="4">
                  <c:v>24.166239096972806</c:v>
                </c:pt>
                <c:pt idx="5">
                  <c:v>7.1444379514851608</c:v>
                </c:pt>
                <c:pt idx="6">
                  <c:v>8.5295134523510185</c:v>
                </c:pt>
                <c:pt idx="7">
                  <c:v>8.8242744954541603</c:v>
                </c:pt>
                <c:pt idx="8">
                  <c:v>7.0813153199082342</c:v>
                </c:pt>
                <c:pt idx="9">
                  <c:v>9.8569288266188124</c:v>
                </c:pt>
                <c:pt idx="10">
                  <c:v>12.135131696144548</c:v>
                </c:pt>
                <c:pt idx="11">
                  <c:v>9.0868357379693521</c:v>
                </c:pt>
                <c:pt idx="12">
                  <c:v>6.2994018528687024</c:v>
                </c:pt>
                <c:pt idx="13">
                  <c:v>3.2416787264833573</c:v>
                </c:pt>
                <c:pt idx="14">
                  <c:v>5.4078392340869241</c:v>
                </c:pt>
                <c:pt idx="15">
                  <c:v>9.5325389550870767</c:v>
                </c:pt>
                <c:pt idx="16">
                  <c:v>8.4737784081635166</c:v>
                </c:pt>
                <c:pt idx="17">
                  <c:v>8.4971024576891452</c:v>
                </c:pt>
              </c:numCache>
            </c:numRef>
          </c:val>
          <c:extLst>
            <c:ext xmlns:c16="http://schemas.microsoft.com/office/drawing/2014/chart" uri="{C3380CC4-5D6E-409C-BE32-E72D297353CC}">
              <c16:uniqueId val="{00000001-5D06-4784-A0C0-01F03C8BDE3E}"/>
            </c:ext>
          </c:extLst>
        </c:ser>
        <c:ser>
          <c:idx val="2"/>
          <c:order val="2"/>
          <c:tx>
            <c:strRef>
              <c:f>Sheet1!$D$1</c:f>
              <c:strCache>
                <c:ptCount val="1"/>
                <c:pt idx="0">
                  <c:v>American Indian Alone</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9</c:f>
              <c:strCache>
                <c:ptCount val="18"/>
                <c:pt idx="0">
                  <c:v>Kerr-Tar</c:v>
                </c:pt>
                <c:pt idx="1">
                  <c:v>Upper Coastal Plain</c:v>
                </c:pt>
                <c:pt idx="2">
                  <c:v>Mid-Carolina</c:v>
                </c:pt>
                <c:pt idx="3">
                  <c:v>Isothermal Regional Commission</c:v>
                </c:pt>
                <c:pt idx="4">
                  <c:v>Southwestern Commission</c:v>
                </c:pt>
                <c:pt idx="5">
                  <c:v>Triangle J</c:v>
                </c:pt>
                <c:pt idx="6">
                  <c:v>Eastern Carolina</c:v>
                </c:pt>
                <c:pt idx="7">
                  <c:v>Albemarle Commission</c:v>
                </c:pt>
                <c:pt idx="8">
                  <c:v>Land-of-Sky Regional Council</c:v>
                </c:pt>
                <c:pt idx="9">
                  <c:v>Cape Fear</c:v>
                </c:pt>
                <c:pt idx="10">
                  <c:v>Lumber River</c:v>
                </c:pt>
                <c:pt idx="11">
                  <c:v>Mid-East Commission</c:v>
                </c:pt>
                <c:pt idx="12">
                  <c:v>Centralina Regional Councils</c:v>
                </c:pt>
                <c:pt idx="13">
                  <c:v>High Country</c:v>
                </c:pt>
                <c:pt idx="14">
                  <c:v>Western Piedmont</c:v>
                </c:pt>
                <c:pt idx="15">
                  <c:v>Piedmont Triad</c:v>
                </c:pt>
                <c:pt idx="16">
                  <c:v>North Carolina</c:v>
                </c:pt>
                <c:pt idx="17">
                  <c:v>United States</c:v>
                </c:pt>
              </c:strCache>
            </c:strRef>
          </c:cat>
          <c:val>
            <c:numRef>
              <c:f>Sheet1!$D$2:$D$19</c:f>
              <c:numCache>
                <c:formatCode>#,##0.0</c:formatCode>
                <c:ptCount val="18"/>
                <c:pt idx="0">
                  <c:v>12.960497114957834</c:v>
                </c:pt>
                <c:pt idx="1">
                  <c:v>29.03096099718536</c:v>
                </c:pt>
                <c:pt idx="2">
                  <c:v>7.3869571705715567</c:v>
                </c:pt>
                <c:pt idx="3">
                  <c:v>17.836257309941519</c:v>
                </c:pt>
                <c:pt idx="4">
                  <c:v>14.586937716262977</c:v>
                </c:pt>
                <c:pt idx="5">
                  <c:v>10.239651416122005</c:v>
                </c:pt>
                <c:pt idx="6">
                  <c:v>2.7716186252771622</c:v>
                </c:pt>
                <c:pt idx="7">
                  <c:v>21.113689095127611</c:v>
                </c:pt>
                <c:pt idx="8">
                  <c:v>7.296137339055794</c:v>
                </c:pt>
                <c:pt idx="9">
                  <c:v>5.9014033825116945</c:v>
                </c:pt>
                <c:pt idx="10">
                  <c:v>18.790624052807058</c:v>
                </c:pt>
                <c:pt idx="11">
                  <c:v>18.508997429305911</c:v>
                </c:pt>
                <c:pt idx="12">
                  <c:v>4.0476532223338593</c:v>
                </c:pt>
                <c:pt idx="13">
                  <c:v>19.186785260482846</c:v>
                </c:pt>
                <c:pt idx="14">
                  <c:v>9.1894977168949765</c:v>
                </c:pt>
                <c:pt idx="15">
                  <c:v>6.2594955940443633</c:v>
                </c:pt>
                <c:pt idx="16">
                  <c:v>14.773568218327526</c:v>
                </c:pt>
                <c:pt idx="17">
                  <c:v>11.193421141111068</c:v>
                </c:pt>
              </c:numCache>
            </c:numRef>
          </c:val>
          <c:extLst>
            <c:ext xmlns:c16="http://schemas.microsoft.com/office/drawing/2014/chart" uri="{C3380CC4-5D6E-409C-BE32-E72D297353CC}">
              <c16:uniqueId val="{00000002-5D06-4784-A0C0-01F03C8BDE3E}"/>
            </c:ext>
          </c:extLst>
        </c:ser>
        <c:ser>
          <c:idx val="3"/>
          <c:order val="3"/>
          <c:tx>
            <c:strRef>
              <c:f>Sheet1!$E$1</c:f>
              <c:strCache>
                <c:ptCount val="1"/>
                <c:pt idx="0">
                  <c:v>Hispanic or Latino</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9</c:f>
              <c:strCache>
                <c:ptCount val="18"/>
                <c:pt idx="0">
                  <c:v>Kerr-Tar</c:v>
                </c:pt>
                <c:pt idx="1">
                  <c:v>Upper Coastal Plain</c:v>
                </c:pt>
                <c:pt idx="2">
                  <c:v>Mid-Carolina</c:v>
                </c:pt>
                <c:pt idx="3">
                  <c:v>Isothermal Regional Commission</c:v>
                </c:pt>
                <c:pt idx="4">
                  <c:v>Southwestern Commission</c:v>
                </c:pt>
                <c:pt idx="5">
                  <c:v>Triangle J</c:v>
                </c:pt>
                <c:pt idx="6">
                  <c:v>Eastern Carolina</c:v>
                </c:pt>
                <c:pt idx="7">
                  <c:v>Albemarle Commission</c:v>
                </c:pt>
                <c:pt idx="8">
                  <c:v>Land-of-Sky Regional Council</c:v>
                </c:pt>
                <c:pt idx="9">
                  <c:v>Cape Fear</c:v>
                </c:pt>
                <c:pt idx="10">
                  <c:v>Lumber River</c:v>
                </c:pt>
                <c:pt idx="11">
                  <c:v>Mid-East Commission</c:v>
                </c:pt>
                <c:pt idx="12">
                  <c:v>Centralina Regional Councils</c:v>
                </c:pt>
                <c:pt idx="13">
                  <c:v>High Country</c:v>
                </c:pt>
                <c:pt idx="14">
                  <c:v>Western Piedmont</c:v>
                </c:pt>
                <c:pt idx="15">
                  <c:v>Piedmont Triad</c:v>
                </c:pt>
                <c:pt idx="16">
                  <c:v>North Carolina</c:v>
                </c:pt>
                <c:pt idx="17">
                  <c:v>United States</c:v>
                </c:pt>
              </c:strCache>
            </c:strRef>
          </c:cat>
          <c:val>
            <c:numRef>
              <c:f>Sheet1!$E$2:$E$19</c:f>
              <c:numCache>
                <c:formatCode>#,##0.0</c:formatCode>
                <c:ptCount val="18"/>
                <c:pt idx="0">
                  <c:v>10.406418364956664</c:v>
                </c:pt>
                <c:pt idx="1">
                  <c:v>8.7260658667347464</c:v>
                </c:pt>
                <c:pt idx="2">
                  <c:v>8.3744570195916186</c:v>
                </c:pt>
                <c:pt idx="3">
                  <c:v>15.288266715785594</c:v>
                </c:pt>
                <c:pt idx="4">
                  <c:v>14.389746577337606</c:v>
                </c:pt>
                <c:pt idx="5">
                  <c:v>9.3734979075438662</c:v>
                </c:pt>
                <c:pt idx="6">
                  <c:v>6.4728520424722964</c:v>
                </c:pt>
                <c:pt idx="7">
                  <c:v>17.92432195975503</c:v>
                </c:pt>
                <c:pt idx="8">
                  <c:v>13.90636360762495</c:v>
                </c:pt>
                <c:pt idx="9">
                  <c:v>10.536327017753244</c:v>
                </c:pt>
                <c:pt idx="10">
                  <c:v>8.4674075302703606</c:v>
                </c:pt>
                <c:pt idx="11">
                  <c:v>9.2584681110772049</c:v>
                </c:pt>
                <c:pt idx="12">
                  <c:v>6.9396771717659709</c:v>
                </c:pt>
                <c:pt idx="13">
                  <c:v>7.2249443207126953</c:v>
                </c:pt>
                <c:pt idx="14">
                  <c:v>7.6516964662818525</c:v>
                </c:pt>
                <c:pt idx="15">
                  <c:v>8.8330846056709902</c:v>
                </c:pt>
                <c:pt idx="16">
                  <c:v>8.6731004114168169</c:v>
                </c:pt>
                <c:pt idx="17">
                  <c:v>7.5528416098913702</c:v>
                </c:pt>
              </c:numCache>
            </c:numRef>
          </c:val>
          <c:extLst>
            <c:ext xmlns:c16="http://schemas.microsoft.com/office/drawing/2014/chart" uri="{C3380CC4-5D6E-409C-BE32-E72D297353CC}">
              <c16:uniqueId val="{00000003-5D06-4784-A0C0-01F03C8BDE3E}"/>
            </c:ext>
          </c:extLst>
        </c:ser>
        <c:dLbls>
          <c:showLegendKey val="0"/>
          <c:showVal val="0"/>
          <c:showCatName val="0"/>
          <c:showSerName val="0"/>
          <c:showPercent val="0"/>
          <c:showBubbleSize val="0"/>
        </c:dLbls>
        <c:gapWidth val="60"/>
        <c:overlap val="100"/>
        <c:axId val="979383072"/>
        <c:axId val="979383488"/>
      </c:barChart>
      <c:catAx>
        <c:axId val="979383072"/>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979383488"/>
        <c:crosses val="autoZero"/>
        <c:auto val="1"/>
        <c:lblAlgn val="ctr"/>
        <c:lblOffset val="100"/>
        <c:noMultiLvlLbl val="0"/>
      </c:catAx>
      <c:valAx>
        <c:axId val="979383488"/>
        <c:scaling>
          <c:orientation val="minMax"/>
        </c:scaling>
        <c:delete val="1"/>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crossAx val="97938307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stacked"/>
        <c:varyColors val="0"/>
        <c:ser>
          <c:idx val="0"/>
          <c:order val="0"/>
          <c:tx>
            <c:strRef>
              <c:f>Sheet1!$B$1</c:f>
              <c:strCache>
                <c:ptCount val="1"/>
                <c:pt idx="0">
                  <c:v>White Alone</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9</c:f>
              <c:strCache>
                <c:ptCount val="18"/>
                <c:pt idx="0">
                  <c:v>Kerr-Tar</c:v>
                </c:pt>
                <c:pt idx="1">
                  <c:v>Upper Coastal Plain</c:v>
                </c:pt>
                <c:pt idx="2">
                  <c:v>Mid-Carolina</c:v>
                </c:pt>
                <c:pt idx="3">
                  <c:v>Isothermal Regional Commission</c:v>
                </c:pt>
                <c:pt idx="4">
                  <c:v>Southwestern Commission</c:v>
                </c:pt>
                <c:pt idx="5">
                  <c:v>Triangle J</c:v>
                </c:pt>
                <c:pt idx="6">
                  <c:v>Eastern Carolina</c:v>
                </c:pt>
                <c:pt idx="7">
                  <c:v>Albemarle Commission</c:v>
                </c:pt>
                <c:pt idx="8">
                  <c:v>Land-of-Sky Regional Council</c:v>
                </c:pt>
                <c:pt idx="9">
                  <c:v>Cape Fear</c:v>
                </c:pt>
                <c:pt idx="10">
                  <c:v>Lumber River</c:v>
                </c:pt>
                <c:pt idx="11">
                  <c:v>Mid-East Commission</c:v>
                </c:pt>
                <c:pt idx="12">
                  <c:v>Centralina Regional Councils</c:v>
                </c:pt>
                <c:pt idx="13">
                  <c:v>High Country</c:v>
                </c:pt>
                <c:pt idx="14">
                  <c:v>Western Piedmont</c:v>
                </c:pt>
                <c:pt idx="15">
                  <c:v>Piedmont Triad</c:v>
                </c:pt>
                <c:pt idx="16">
                  <c:v>North Carolina</c:v>
                </c:pt>
                <c:pt idx="17">
                  <c:v>United States</c:v>
                </c:pt>
              </c:strCache>
            </c:strRef>
          </c:cat>
          <c:val>
            <c:numRef>
              <c:f>Sheet1!$B$2:$B$19</c:f>
              <c:numCache>
                <c:formatCode>#,##0.0</c:formatCode>
                <c:ptCount val="18"/>
                <c:pt idx="0">
                  <c:v>4.7114022938421076</c:v>
                </c:pt>
                <c:pt idx="1">
                  <c:v>7.1994577031859937</c:v>
                </c:pt>
                <c:pt idx="2">
                  <c:v>4.335745427437633</c:v>
                </c:pt>
                <c:pt idx="3">
                  <c:v>7.5943740499486907</c:v>
                </c:pt>
                <c:pt idx="4">
                  <c:v>7.8256687431293521</c:v>
                </c:pt>
                <c:pt idx="5">
                  <c:v>2.0846457457236158</c:v>
                </c:pt>
                <c:pt idx="6">
                  <c:v>4.483814576216119</c:v>
                </c:pt>
                <c:pt idx="7">
                  <c:v>4.729325805380272</c:v>
                </c:pt>
                <c:pt idx="8">
                  <c:v>6.0008249836999186</c:v>
                </c:pt>
                <c:pt idx="9">
                  <c:v>3.0009041541166748</c:v>
                </c:pt>
                <c:pt idx="10">
                  <c:v>7.3105386416861835</c:v>
                </c:pt>
                <c:pt idx="11">
                  <c:v>4.5149870676939337</c:v>
                </c:pt>
                <c:pt idx="12">
                  <c:v>3.2322159172861178</c:v>
                </c:pt>
                <c:pt idx="13">
                  <c:v>8.473711907900805</c:v>
                </c:pt>
                <c:pt idx="14">
                  <c:v>7.4269130465666136</c:v>
                </c:pt>
                <c:pt idx="15">
                  <c:v>5.7248095182737462</c:v>
                </c:pt>
                <c:pt idx="16">
                  <c:v>4.4955765720803793</c:v>
                </c:pt>
                <c:pt idx="17">
                  <c:v>4.3107693542841385</c:v>
                </c:pt>
              </c:numCache>
            </c:numRef>
          </c:val>
          <c:extLst>
            <c:ext xmlns:c16="http://schemas.microsoft.com/office/drawing/2014/chart" uri="{C3380CC4-5D6E-409C-BE32-E72D297353CC}">
              <c16:uniqueId val="{00000000-79CE-4450-A669-DB640EAC3EF3}"/>
            </c:ext>
          </c:extLst>
        </c:ser>
        <c:ser>
          <c:idx val="1"/>
          <c:order val="1"/>
          <c:tx>
            <c:strRef>
              <c:f>Sheet1!$C$1</c:f>
              <c:strCache>
                <c:ptCount val="1"/>
                <c:pt idx="0">
                  <c:v>Black Alone</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9</c:f>
              <c:strCache>
                <c:ptCount val="18"/>
                <c:pt idx="0">
                  <c:v>Kerr-Tar</c:v>
                </c:pt>
                <c:pt idx="1">
                  <c:v>Upper Coastal Plain</c:v>
                </c:pt>
                <c:pt idx="2">
                  <c:v>Mid-Carolina</c:v>
                </c:pt>
                <c:pt idx="3">
                  <c:v>Isothermal Regional Commission</c:v>
                </c:pt>
                <c:pt idx="4">
                  <c:v>Southwestern Commission</c:v>
                </c:pt>
                <c:pt idx="5">
                  <c:v>Triangle J</c:v>
                </c:pt>
                <c:pt idx="6">
                  <c:v>Eastern Carolina</c:v>
                </c:pt>
                <c:pt idx="7">
                  <c:v>Albemarle Commission</c:v>
                </c:pt>
                <c:pt idx="8">
                  <c:v>Land-of-Sky Regional Council</c:v>
                </c:pt>
                <c:pt idx="9">
                  <c:v>Cape Fear</c:v>
                </c:pt>
                <c:pt idx="10">
                  <c:v>Lumber River</c:v>
                </c:pt>
                <c:pt idx="11">
                  <c:v>Mid-East Commission</c:v>
                </c:pt>
                <c:pt idx="12">
                  <c:v>Centralina Regional Councils</c:v>
                </c:pt>
                <c:pt idx="13">
                  <c:v>High Country</c:v>
                </c:pt>
                <c:pt idx="14">
                  <c:v>Western Piedmont</c:v>
                </c:pt>
                <c:pt idx="15">
                  <c:v>Piedmont Triad</c:v>
                </c:pt>
                <c:pt idx="16">
                  <c:v>North Carolina</c:v>
                </c:pt>
                <c:pt idx="17">
                  <c:v>United States</c:v>
                </c:pt>
              </c:strCache>
            </c:strRef>
          </c:cat>
          <c:val>
            <c:numRef>
              <c:f>Sheet1!$C$2:$C$19</c:f>
              <c:numCache>
                <c:formatCode>#,##0.0</c:formatCode>
                <c:ptCount val="18"/>
                <c:pt idx="0">
                  <c:v>12.505828988087666</c:v>
                </c:pt>
                <c:pt idx="1">
                  <c:v>14.320208449541916</c:v>
                </c:pt>
                <c:pt idx="2">
                  <c:v>6.4279019288638937</c:v>
                </c:pt>
                <c:pt idx="3">
                  <c:v>15.014652014652013</c:v>
                </c:pt>
                <c:pt idx="4">
                  <c:v>4.4638276038994356</c:v>
                </c:pt>
                <c:pt idx="5">
                  <c:v>4.6726926854741446</c:v>
                </c:pt>
                <c:pt idx="6">
                  <c:v>8.8933241136535077</c:v>
                </c:pt>
                <c:pt idx="7">
                  <c:v>9.2971542770287385</c:v>
                </c:pt>
                <c:pt idx="8">
                  <c:v>13.841447871526894</c:v>
                </c:pt>
                <c:pt idx="9">
                  <c:v>8.8180575906748544</c:v>
                </c:pt>
                <c:pt idx="10">
                  <c:v>12.322178394197735</c:v>
                </c:pt>
                <c:pt idx="11">
                  <c:v>10.948810626201073</c:v>
                </c:pt>
                <c:pt idx="12">
                  <c:v>4.5205931837411848</c:v>
                </c:pt>
                <c:pt idx="13">
                  <c:v>16.555716353111432</c:v>
                </c:pt>
                <c:pt idx="14">
                  <c:v>9.9435992227119776</c:v>
                </c:pt>
                <c:pt idx="15">
                  <c:v>8.8370413576646385</c:v>
                </c:pt>
                <c:pt idx="16">
                  <c:v>7.6635392868514272</c:v>
                </c:pt>
                <c:pt idx="17">
                  <c:v>6.416960166017037</c:v>
                </c:pt>
              </c:numCache>
            </c:numRef>
          </c:val>
          <c:extLst>
            <c:ext xmlns:c16="http://schemas.microsoft.com/office/drawing/2014/chart" uri="{C3380CC4-5D6E-409C-BE32-E72D297353CC}">
              <c16:uniqueId val="{00000001-79CE-4450-A669-DB640EAC3EF3}"/>
            </c:ext>
          </c:extLst>
        </c:ser>
        <c:ser>
          <c:idx val="2"/>
          <c:order val="2"/>
          <c:tx>
            <c:strRef>
              <c:f>Sheet1!$D$1</c:f>
              <c:strCache>
                <c:ptCount val="1"/>
                <c:pt idx="0">
                  <c:v>American Indian Alone</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9</c:f>
              <c:strCache>
                <c:ptCount val="18"/>
                <c:pt idx="0">
                  <c:v>Kerr-Tar</c:v>
                </c:pt>
                <c:pt idx="1">
                  <c:v>Upper Coastal Plain</c:v>
                </c:pt>
                <c:pt idx="2">
                  <c:v>Mid-Carolina</c:v>
                </c:pt>
                <c:pt idx="3">
                  <c:v>Isothermal Regional Commission</c:v>
                </c:pt>
                <c:pt idx="4">
                  <c:v>Southwestern Commission</c:v>
                </c:pt>
                <c:pt idx="5">
                  <c:v>Triangle J</c:v>
                </c:pt>
                <c:pt idx="6">
                  <c:v>Eastern Carolina</c:v>
                </c:pt>
                <c:pt idx="7">
                  <c:v>Albemarle Commission</c:v>
                </c:pt>
                <c:pt idx="8">
                  <c:v>Land-of-Sky Regional Council</c:v>
                </c:pt>
                <c:pt idx="9">
                  <c:v>Cape Fear</c:v>
                </c:pt>
                <c:pt idx="10">
                  <c:v>Lumber River</c:v>
                </c:pt>
                <c:pt idx="11">
                  <c:v>Mid-East Commission</c:v>
                </c:pt>
                <c:pt idx="12">
                  <c:v>Centralina Regional Councils</c:v>
                </c:pt>
                <c:pt idx="13">
                  <c:v>High Country</c:v>
                </c:pt>
                <c:pt idx="14">
                  <c:v>Western Piedmont</c:v>
                </c:pt>
                <c:pt idx="15">
                  <c:v>Piedmont Triad</c:v>
                </c:pt>
                <c:pt idx="16">
                  <c:v>North Carolina</c:v>
                </c:pt>
                <c:pt idx="17">
                  <c:v>United States</c:v>
                </c:pt>
              </c:strCache>
            </c:strRef>
          </c:cat>
          <c:val>
            <c:numRef>
              <c:f>Sheet1!$D$2:$D$19</c:f>
              <c:numCache>
                <c:formatCode>#,##0.0</c:formatCode>
                <c:ptCount val="18"/>
                <c:pt idx="0">
                  <c:v>11.584553928095872</c:v>
                </c:pt>
                <c:pt idx="1">
                  <c:v>11.379171692802574</c:v>
                </c:pt>
                <c:pt idx="2">
                  <c:v>6.5512610058200265</c:v>
                </c:pt>
                <c:pt idx="3">
                  <c:v>0.8771929824561403</c:v>
                </c:pt>
                <c:pt idx="4">
                  <c:v>10.315743944636678</c:v>
                </c:pt>
                <c:pt idx="5">
                  <c:v>4.4934640522875817</c:v>
                </c:pt>
                <c:pt idx="6">
                  <c:v>5.4878048780487809</c:v>
                </c:pt>
                <c:pt idx="7">
                  <c:v>19.489559164733176</c:v>
                </c:pt>
                <c:pt idx="8">
                  <c:v>4.5493562231759652</c:v>
                </c:pt>
                <c:pt idx="9">
                  <c:v>2.4469233537243613</c:v>
                </c:pt>
                <c:pt idx="10">
                  <c:v>11.172666958542417</c:v>
                </c:pt>
                <c:pt idx="11">
                  <c:v>6.6838046272493568</c:v>
                </c:pt>
                <c:pt idx="12">
                  <c:v>6.616908281900387</c:v>
                </c:pt>
                <c:pt idx="13">
                  <c:v>4.3202033036848793</c:v>
                </c:pt>
                <c:pt idx="14">
                  <c:v>5.0799086757990866</c:v>
                </c:pt>
                <c:pt idx="15">
                  <c:v>9.0549984807049526</c:v>
                </c:pt>
                <c:pt idx="16">
                  <c:v>9.4227749399851994</c:v>
                </c:pt>
                <c:pt idx="17">
                  <c:v>9.2180310760359525</c:v>
                </c:pt>
              </c:numCache>
            </c:numRef>
          </c:val>
          <c:extLst>
            <c:ext xmlns:c16="http://schemas.microsoft.com/office/drawing/2014/chart" uri="{C3380CC4-5D6E-409C-BE32-E72D297353CC}">
              <c16:uniqueId val="{00000002-79CE-4450-A669-DB640EAC3EF3}"/>
            </c:ext>
          </c:extLst>
        </c:ser>
        <c:ser>
          <c:idx val="3"/>
          <c:order val="3"/>
          <c:tx>
            <c:strRef>
              <c:f>Sheet1!$E$1</c:f>
              <c:strCache>
                <c:ptCount val="1"/>
                <c:pt idx="0">
                  <c:v>Hispanic or Latino</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9</c:f>
              <c:strCache>
                <c:ptCount val="18"/>
                <c:pt idx="0">
                  <c:v>Kerr-Tar</c:v>
                </c:pt>
                <c:pt idx="1">
                  <c:v>Upper Coastal Plain</c:v>
                </c:pt>
                <c:pt idx="2">
                  <c:v>Mid-Carolina</c:v>
                </c:pt>
                <c:pt idx="3">
                  <c:v>Isothermal Regional Commission</c:v>
                </c:pt>
                <c:pt idx="4">
                  <c:v>Southwestern Commission</c:v>
                </c:pt>
                <c:pt idx="5">
                  <c:v>Triangle J</c:v>
                </c:pt>
                <c:pt idx="6">
                  <c:v>Eastern Carolina</c:v>
                </c:pt>
                <c:pt idx="7">
                  <c:v>Albemarle Commission</c:v>
                </c:pt>
                <c:pt idx="8">
                  <c:v>Land-of-Sky Regional Council</c:v>
                </c:pt>
                <c:pt idx="9">
                  <c:v>Cape Fear</c:v>
                </c:pt>
                <c:pt idx="10">
                  <c:v>Lumber River</c:v>
                </c:pt>
                <c:pt idx="11">
                  <c:v>Mid-East Commission</c:v>
                </c:pt>
                <c:pt idx="12">
                  <c:v>Centralina Regional Councils</c:v>
                </c:pt>
                <c:pt idx="13">
                  <c:v>High Country</c:v>
                </c:pt>
                <c:pt idx="14">
                  <c:v>Western Piedmont</c:v>
                </c:pt>
                <c:pt idx="15">
                  <c:v>Piedmont Triad</c:v>
                </c:pt>
                <c:pt idx="16">
                  <c:v>North Carolina</c:v>
                </c:pt>
                <c:pt idx="17">
                  <c:v>United States</c:v>
                </c:pt>
              </c:strCache>
            </c:strRef>
          </c:cat>
          <c:val>
            <c:numRef>
              <c:f>Sheet1!$E$2:$E$19</c:f>
              <c:numCache>
                <c:formatCode>#,##0.0</c:formatCode>
                <c:ptCount val="18"/>
                <c:pt idx="0">
                  <c:v>1.8154134457718434</c:v>
                </c:pt>
                <c:pt idx="1">
                  <c:v>4.7944855756956857</c:v>
                </c:pt>
                <c:pt idx="2">
                  <c:v>2.799858160219852</c:v>
                </c:pt>
                <c:pt idx="3">
                  <c:v>6.253453674709891</c:v>
                </c:pt>
                <c:pt idx="4">
                  <c:v>7.7289057190018458</c:v>
                </c:pt>
                <c:pt idx="5">
                  <c:v>1.9253242314798893</c:v>
                </c:pt>
                <c:pt idx="6">
                  <c:v>4.2395017078561379</c:v>
                </c:pt>
                <c:pt idx="7">
                  <c:v>3.1605424321959759</c:v>
                </c:pt>
                <c:pt idx="8">
                  <c:v>8.5511965352638075</c:v>
                </c:pt>
                <c:pt idx="9">
                  <c:v>4.5390123825152919</c:v>
                </c:pt>
                <c:pt idx="10">
                  <c:v>4.590313484823354</c:v>
                </c:pt>
                <c:pt idx="11">
                  <c:v>7.1406774488861764</c:v>
                </c:pt>
                <c:pt idx="12">
                  <c:v>4.5813869224565495</c:v>
                </c:pt>
                <c:pt idx="13">
                  <c:v>3.5991091314031181</c:v>
                </c:pt>
                <c:pt idx="14">
                  <c:v>3.7202590454737434</c:v>
                </c:pt>
                <c:pt idx="15">
                  <c:v>4.9161979106876359</c:v>
                </c:pt>
                <c:pt idx="16">
                  <c:v>4.0178427937773211</c:v>
                </c:pt>
                <c:pt idx="17">
                  <c:v>3.9551755473774581</c:v>
                </c:pt>
              </c:numCache>
            </c:numRef>
          </c:val>
          <c:extLst>
            <c:ext xmlns:c16="http://schemas.microsoft.com/office/drawing/2014/chart" uri="{C3380CC4-5D6E-409C-BE32-E72D297353CC}">
              <c16:uniqueId val="{00000003-79CE-4450-A669-DB640EAC3EF3}"/>
            </c:ext>
          </c:extLst>
        </c:ser>
        <c:dLbls>
          <c:showLegendKey val="0"/>
          <c:showVal val="0"/>
          <c:showCatName val="0"/>
          <c:showSerName val="0"/>
          <c:showPercent val="0"/>
          <c:showBubbleSize val="0"/>
        </c:dLbls>
        <c:gapWidth val="60"/>
        <c:overlap val="100"/>
        <c:axId val="979383072"/>
        <c:axId val="979383488"/>
      </c:barChart>
      <c:catAx>
        <c:axId val="979383072"/>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979383488"/>
        <c:crosses val="autoZero"/>
        <c:auto val="1"/>
        <c:lblAlgn val="ctr"/>
        <c:lblOffset val="100"/>
        <c:noMultiLvlLbl val="0"/>
      </c:catAx>
      <c:valAx>
        <c:axId val="979383488"/>
        <c:scaling>
          <c:orientation val="minMax"/>
        </c:scaling>
        <c:delete val="1"/>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crossAx val="97938307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stacked"/>
        <c:varyColors val="0"/>
        <c:ser>
          <c:idx val="0"/>
          <c:order val="0"/>
          <c:tx>
            <c:strRef>
              <c:f>Sheet1!$B$1</c:f>
              <c:strCache>
                <c:ptCount val="1"/>
                <c:pt idx="0">
                  <c:v>Less than $10,000</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9</c:f>
              <c:strCache>
                <c:ptCount val="18"/>
                <c:pt idx="0">
                  <c:v>Kerr-Tar</c:v>
                </c:pt>
                <c:pt idx="1">
                  <c:v>Upper Coastal Plain</c:v>
                </c:pt>
                <c:pt idx="2">
                  <c:v>Mid-Carolina</c:v>
                </c:pt>
                <c:pt idx="3">
                  <c:v>Isothermal Regional Commission</c:v>
                </c:pt>
                <c:pt idx="4">
                  <c:v>Southwestern Commission</c:v>
                </c:pt>
                <c:pt idx="5">
                  <c:v>Triangle J</c:v>
                </c:pt>
                <c:pt idx="6">
                  <c:v>Eastern Carolina</c:v>
                </c:pt>
                <c:pt idx="7">
                  <c:v>Albemarle Commission</c:v>
                </c:pt>
                <c:pt idx="8">
                  <c:v>Land-of-Sky Regional Council</c:v>
                </c:pt>
                <c:pt idx="9">
                  <c:v>Cape Fear</c:v>
                </c:pt>
                <c:pt idx="10">
                  <c:v>Lumber River</c:v>
                </c:pt>
                <c:pt idx="11">
                  <c:v>Mid-East Commission</c:v>
                </c:pt>
                <c:pt idx="12">
                  <c:v>Centralina Regional Councils</c:v>
                </c:pt>
                <c:pt idx="13">
                  <c:v>High Country</c:v>
                </c:pt>
                <c:pt idx="14">
                  <c:v>Western Piedmont</c:v>
                </c:pt>
                <c:pt idx="15">
                  <c:v>Piedmont Triad</c:v>
                </c:pt>
                <c:pt idx="16">
                  <c:v>North Carolina</c:v>
                </c:pt>
                <c:pt idx="17">
                  <c:v>United States</c:v>
                </c:pt>
              </c:strCache>
            </c:strRef>
          </c:cat>
          <c:val>
            <c:numRef>
              <c:f>Sheet1!$B$2:$B$19</c:f>
              <c:numCache>
                <c:formatCode>#,##0.0</c:formatCode>
                <c:ptCount val="18"/>
                <c:pt idx="0">
                  <c:v>38.111753371868978</c:v>
                </c:pt>
                <c:pt idx="1">
                  <c:v>51.131965944272451</c:v>
                </c:pt>
                <c:pt idx="2">
                  <c:v>33.83589244771764</c:v>
                </c:pt>
                <c:pt idx="3">
                  <c:v>41.152986266368572</c:v>
                </c:pt>
                <c:pt idx="4">
                  <c:v>43.751146999449439</c:v>
                </c:pt>
                <c:pt idx="5">
                  <c:v>25.461221295934028</c:v>
                </c:pt>
                <c:pt idx="6">
                  <c:v>35.56707974137931</c:v>
                </c:pt>
                <c:pt idx="7">
                  <c:v>41.616349280074317</c:v>
                </c:pt>
                <c:pt idx="8">
                  <c:v>37.440235380654649</c:v>
                </c:pt>
                <c:pt idx="9">
                  <c:v>27.177520466111073</c:v>
                </c:pt>
                <c:pt idx="10">
                  <c:v>43.625750782505712</c:v>
                </c:pt>
                <c:pt idx="11">
                  <c:v>34.109429569266595</c:v>
                </c:pt>
                <c:pt idx="12">
                  <c:v>27.975071463521413</c:v>
                </c:pt>
                <c:pt idx="13">
                  <c:v>34.664582148948263</c:v>
                </c:pt>
                <c:pt idx="14">
                  <c:v>34.704616120545325</c:v>
                </c:pt>
                <c:pt idx="15">
                  <c:v>36.191113058316233</c:v>
                </c:pt>
                <c:pt idx="16">
                  <c:v>33.950868966923196</c:v>
                </c:pt>
                <c:pt idx="17">
                  <c:v>32.240789650020453</c:v>
                </c:pt>
              </c:numCache>
            </c:numRef>
          </c:val>
          <c:extLst>
            <c:ext xmlns:c16="http://schemas.microsoft.com/office/drawing/2014/chart" uri="{C3380CC4-5D6E-409C-BE32-E72D297353CC}">
              <c16:uniqueId val="{00000000-E94E-4A17-A67C-D1E1A05BC2D4}"/>
            </c:ext>
          </c:extLst>
        </c:ser>
        <c:ser>
          <c:idx val="1"/>
          <c:order val="1"/>
          <c:tx>
            <c:strRef>
              <c:f>Sheet1!$C$1</c:f>
              <c:strCache>
                <c:ptCount val="1"/>
                <c:pt idx="0">
                  <c:v>$10,000-$19,999</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9</c:f>
              <c:strCache>
                <c:ptCount val="18"/>
                <c:pt idx="0">
                  <c:v>Kerr-Tar</c:v>
                </c:pt>
                <c:pt idx="1">
                  <c:v>Upper Coastal Plain</c:v>
                </c:pt>
                <c:pt idx="2">
                  <c:v>Mid-Carolina</c:v>
                </c:pt>
                <c:pt idx="3">
                  <c:v>Isothermal Regional Commission</c:v>
                </c:pt>
                <c:pt idx="4">
                  <c:v>Southwestern Commission</c:v>
                </c:pt>
                <c:pt idx="5">
                  <c:v>Triangle J</c:v>
                </c:pt>
                <c:pt idx="6">
                  <c:v>Eastern Carolina</c:v>
                </c:pt>
                <c:pt idx="7">
                  <c:v>Albemarle Commission</c:v>
                </c:pt>
                <c:pt idx="8">
                  <c:v>Land-of-Sky Regional Council</c:v>
                </c:pt>
                <c:pt idx="9">
                  <c:v>Cape Fear</c:v>
                </c:pt>
                <c:pt idx="10">
                  <c:v>Lumber River</c:v>
                </c:pt>
                <c:pt idx="11">
                  <c:v>Mid-East Commission</c:v>
                </c:pt>
                <c:pt idx="12">
                  <c:v>Centralina Regional Councils</c:v>
                </c:pt>
                <c:pt idx="13">
                  <c:v>High Country</c:v>
                </c:pt>
                <c:pt idx="14">
                  <c:v>Western Piedmont</c:v>
                </c:pt>
                <c:pt idx="15">
                  <c:v>Piedmont Triad</c:v>
                </c:pt>
                <c:pt idx="16">
                  <c:v>North Carolina</c:v>
                </c:pt>
                <c:pt idx="17">
                  <c:v>United States</c:v>
                </c:pt>
              </c:strCache>
            </c:strRef>
          </c:cat>
          <c:val>
            <c:numRef>
              <c:f>Sheet1!$C$2:$C$19</c:f>
              <c:numCache>
                <c:formatCode>#,##0.0</c:formatCode>
                <c:ptCount val="18"/>
                <c:pt idx="0">
                  <c:v>37.78184731601236</c:v>
                </c:pt>
                <c:pt idx="1">
                  <c:v>50.761135124976505</c:v>
                </c:pt>
                <c:pt idx="2">
                  <c:v>33.473780394943908</c:v>
                </c:pt>
                <c:pt idx="3">
                  <c:v>47.137660348458738</c:v>
                </c:pt>
                <c:pt idx="4">
                  <c:v>44.609340899170668</c:v>
                </c:pt>
                <c:pt idx="5">
                  <c:v>30.274774774774777</c:v>
                </c:pt>
                <c:pt idx="6">
                  <c:v>39.550100665943937</c:v>
                </c:pt>
                <c:pt idx="7">
                  <c:v>45.029033960936125</c:v>
                </c:pt>
                <c:pt idx="8">
                  <c:v>44.800382500597657</c:v>
                </c:pt>
                <c:pt idx="9">
                  <c:v>31.539159358935592</c:v>
                </c:pt>
                <c:pt idx="10">
                  <c:v>49.630615640599004</c:v>
                </c:pt>
                <c:pt idx="11">
                  <c:v>38.435150718925627</c:v>
                </c:pt>
                <c:pt idx="12">
                  <c:v>32.892332789559539</c:v>
                </c:pt>
                <c:pt idx="13">
                  <c:v>39.716449796076908</c:v>
                </c:pt>
                <c:pt idx="14">
                  <c:v>47.153736930424678</c:v>
                </c:pt>
                <c:pt idx="15">
                  <c:v>39.596522449455904</c:v>
                </c:pt>
                <c:pt idx="16">
                  <c:v>38.456579130193134</c:v>
                </c:pt>
                <c:pt idx="17">
                  <c:v>35.060039929643672</c:v>
                </c:pt>
              </c:numCache>
            </c:numRef>
          </c:val>
          <c:extLst>
            <c:ext xmlns:c16="http://schemas.microsoft.com/office/drawing/2014/chart" uri="{C3380CC4-5D6E-409C-BE32-E72D297353CC}">
              <c16:uniqueId val="{00000001-E94E-4A17-A67C-D1E1A05BC2D4}"/>
            </c:ext>
          </c:extLst>
        </c:ser>
        <c:ser>
          <c:idx val="2"/>
          <c:order val="2"/>
          <c:tx>
            <c:strRef>
              <c:f>Sheet1!$D$1</c:f>
              <c:strCache>
                <c:ptCount val="1"/>
                <c:pt idx="0">
                  <c:v>$20,000-$34,999</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9</c:f>
              <c:strCache>
                <c:ptCount val="18"/>
                <c:pt idx="0">
                  <c:v>Kerr-Tar</c:v>
                </c:pt>
                <c:pt idx="1">
                  <c:v>Upper Coastal Plain</c:v>
                </c:pt>
                <c:pt idx="2">
                  <c:v>Mid-Carolina</c:v>
                </c:pt>
                <c:pt idx="3">
                  <c:v>Isothermal Regional Commission</c:v>
                </c:pt>
                <c:pt idx="4">
                  <c:v>Southwestern Commission</c:v>
                </c:pt>
                <c:pt idx="5">
                  <c:v>Triangle J</c:v>
                </c:pt>
                <c:pt idx="6">
                  <c:v>Eastern Carolina</c:v>
                </c:pt>
                <c:pt idx="7">
                  <c:v>Albemarle Commission</c:v>
                </c:pt>
                <c:pt idx="8">
                  <c:v>Land-of-Sky Regional Council</c:v>
                </c:pt>
                <c:pt idx="9">
                  <c:v>Cape Fear</c:v>
                </c:pt>
                <c:pt idx="10">
                  <c:v>Lumber River</c:v>
                </c:pt>
                <c:pt idx="11">
                  <c:v>Mid-East Commission</c:v>
                </c:pt>
                <c:pt idx="12">
                  <c:v>Centralina Regional Councils</c:v>
                </c:pt>
                <c:pt idx="13">
                  <c:v>High Country</c:v>
                </c:pt>
                <c:pt idx="14">
                  <c:v>Western Piedmont</c:v>
                </c:pt>
                <c:pt idx="15">
                  <c:v>Piedmont Triad</c:v>
                </c:pt>
                <c:pt idx="16">
                  <c:v>North Carolina</c:v>
                </c:pt>
                <c:pt idx="17">
                  <c:v>United States</c:v>
                </c:pt>
              </c:strCache>
            </c:strRef>
          </c:cat>
          <c:val>
            <c:numRef>
              <c:f>Sheet1!$D$2:$D$19</c:f>
              <c:numCache>
                <c:formatCode>#,##0.0</c:formatCode>
                <c:ptCount val="18"/>
                <c:pt idx="0">
                  <c:v>28.002268538210689</c:v>
                </c:pt>
                <c:pt idx="1">
                  <c:v>32.126745435016112</c:v>
                </c:pt>
                <c:pt idx="2">
                  <c:v>22.037196541933838</c:v>
                </c:pt>
                <c:pt idx="3">
                  <c:v>33.951593286305041</c:v>
                </c:pt>
                <c:pt idx="4">
                  <c:v>34.547402249598285</c:v>
                </c:pt>
                <c:pt idx="5">
                  <c:v>20.293367346938776</c:v>
                </c:pt>
                <c:pt idx="6">
                  <c:v>20.781192604383495</c:v>
                </c:pt>
                <c:pt idx="7">
                  <c:v>28.720941934185369</c:v>
                </c:pt>
                <c:pt idx="8">
                  <c:v>25.169714879003273</c:v>
                </c:pt>
                <c:pt idx="9">
                  <c:v>20.261041129154652</c:v>
                </c:pt>
                <c:pt idx="10">
                  <c:v>31.312853767104471</c:v>
                </c:pt>
                <c:pt idx="11">
                  <c:v>27.990797546012271</c:v>
                </c:pt>
                <c:pt idx="12">
                  <c:v>21.371563417301385</c:v>
                </c:pt>
                <c:pt idx="13">
                  <c:v>26.209729174688746</c:v>
                </c:pt>
                <c:pt idx="14">
                  <c:v>28.480984831831176</c:v>
                </c:pt>
                <c:pt idx="15">
                  <c:v>25.702761696877669</c:v>
                </c:pt>
                <c:pt idx="16">
                  <c:v>24.425306066423939</c:v>
                </c:pt>
                <c:pt idx="17">
                  <c:v>23.685955682452324</c:v>
                </c:pt>
              </c:numCache>
            </c:numRef>
          </c:val>
          <c:extLst>
            <c:ext xmlns:c16="http://schemas.microsoft.com/office/drawing/2014/chart" uri="{C3380CC4-5D6E-409C-BE32-E72D297353CC}">
              <c16:uniqueId val="{00000002-E94E-4A17-A67C-D1E1A05BC2D4}"/>
            </c:ext>
          </c:extLst>
        </c:ser>
        <c:ser>
          <c:idx val="3"/>
          <c:order val="3"/>
          <c:tx>
            <c:strRef>
              <c:f>Sheet1!$E$1</c:f>
              <c:strCache>
                <c:ptCount val="1"/>
                <c:pt idx="0">
                  <c:v>$35,000-$49,999</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9</c:f>
              <c:strCache>
                <c:ptCount val="18"/>
                <c:pt idx="0">
                  <c:v>Kerr-Tar</c:v>
                </c:pt>
                <c:pt idx="1">
                  <c:v>Upper Coastal Plain</c:v>
                </c:pt>
                <c:pt idx="2">
                  <c:v>Mid-Carolina</c:v>
                </c:pt>
                <c:pt idx="3">
                  <c:v>Isothermal Regional Commission</c:v>
                </c:pt>
                <c:pt idx="4">
                  <c:v>Southwestern Commission</c:v>
                </c:pt>
                <c:pt idx="5">
                  <c:v>Triangle J</c:v>
                </c:pt>
                <c:pt idx="6">
                  <c:v>Eastern Carolina</c:v>
                </c:pt>
                <c:pt idx="7">
                  <c:v>Albemarle Commission</c:v>
                </c:pt>
                <c:pt idx="8">
                  <c:v>Land-of-Sky Regional Council</c:v>
                </c:pt>
                <c:pt idx="9">
                  <c:v>Cape Fear</c:v>
                </c:pt>
                <c:pt idx="10">
                  <c:v>Lumber River</c:v>
                </c:pt>
                <c:pt idx="11">
                  <c:v>Mid-East Commission</c:v>
                </c:pt>
                <c:pt idx="12">
                  <c:v>Centralina Regional Councils</c:v>
                </c:pt>
                <c:pt idx="13">
                  <c:v>High Country</c:v>
                </c:pt>
                <c:pt idx="14">
                  <c:v>Western Piedmont</c:v>
                </c:pt>
                <c:pt idx="15">
                  <c:v>Piedmont Triad</c:v>
                </c:pt>
                <c:pt idx="16">
                  <c:v>North Carolina</c:v>
                </c:pt>
                <c:pt idx="17">
                  <c:v>United States</c:v>
                </c:pt>
              </c:strCache>
            </c:strRef>
          </c:cat>
          <c:val>
            <c:numRef>
              <c:f>Sheet1!$E$2:$E$19</c:f>
              <c:numCache>
                <c:formatCode>#,##0.0</c:formatCode>
                <c:ptCount val="18"/>
                <c:pt idx="0">
                  <c:v>17.132359224130564</c:v>
                </c:pt>
                <c:pt idx="1">
                  <c:v>21.714823750956278</c:v>
                </c:pt>
                <c:pt idx="2">
                  <c:v>13.190106517421917</c:v>
                </c:pt>
                <c:pt idx="3">
                  <c:v>24.464853919583454</c:v>
                </c:pt>
                <c:pt idx="4">
                  <c:v>19.322086847860042</c:v>
                </c:pt>
                <c:pt idx="5">
                  <c:v>12.705109052883179</c:v>
                </c:pt>
                <c:pt idx="6">
                  <c:v>12.421460962683712</c:v>
                </c:pt>
                <c:pt idx="7">
                  <c:v>14.690693330403251</c:v>
                </c:pt>
                <c:pt idx="8">
                  <c:v>14.298609116645469</c:v>
                </c:pt>
                <c:pt idx="9">
                  <c:v>10.899070494365386</c:v>
                </c:pt>
                <c:pt idx="10">
                  <c:v>20.212008543627878</c:v>
                </c:pt>
                <c:pt idx="11">
                  <c:v>19.294692321439207</c:v>
                </c:pt>
                <c:pt idx="12">
                  <c:v>11.502075309426765</c:v>
                </c:pt>
                <c:pt idx="13">
                  <c:v>17.513768686073959</c:v>
                </c:pt>
                <c:pt idx="14">
                  <c:v>15.531244028282057</c:v>
                </c:pt>
                <c:pt idx="15">
                  <c:v>16.859996862088803</c:v>
                </c:pt>
                <c:pt idx="16">
                  <c:v>14.722471660537762</c:v>
                </c:pt>
                <c:pt idx="17">
                  <c:v>15.28812023186428</c:v>
                </c:pt>
              </c:numCache>
            </c:numRef>
          </c:val>
          <c:extLst>
            <c:ext xmlns:c16="http://schemas.microsoft.com/office/drawing/2014/chart" uri="{C3380CC4-5D6E-409C-BE32-E72D297353CC}">
              <c16:uniqueId val="{00000003-E94E-4A17-A67C-D1E1A05BC2D4}"/>
            </c:ext>
          </c:extLst>
        </c:ser>
        <c:ser>
          <c:idx val="4"/>
          <c:order val="4"/>
          <c:tx>
            <c:strRef>
              <c:f>Sheet1!$F$1</c:f>
              <c:strCache>
                <c:ptCount val="1"/>
                <c:pt idx="0">
                  <c:v>$50,000-$74,999</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9</c:f>
              <c:strCache>
                <c:ptCount val="18"/>
                <c:pt idx="0">
                  <c:v>Kerr-Tar</c:v>
                </c:pt>
                <c:pt idx="1">
                  <c:v>Upper Coastal Plain</c:v>
                </c:pt>
                <c:pt idx="2">
                  <c:v>Mid-Carolina</c:v>
                </c:pt>
                <c:pt idx="3">
                  <c:v>Isothermal Regional Commission</c:v>
                </c:pt>
                <c:pt idx="4">
                  <c:v>Southwestern Commission</c:v>
                </c:pt>
                <c:pt idx="5">
                  <c:v>Triangle J</c:v>
                </c:pt>
                <c:pt idx="6">
                  <c:v>Eastern Carolina</c:v>
                </c:pt>
                <c:pt idx="7">
                  <c:v>Albemarle Commission</c:v>
                </c:pt>
                <c:pt idx="8">
                  <c:v>Land-of-Sky Regional Council</c:v>
                </c:pt>
                <c:pt idx="9">
                  <c:v>Cape Fear</c:v>
                </c:pt>
                <c:pt idx="10">
                  <c:v>Lumber River</c:v>
                </c:pt>
                <c:pt idx="11">
                  <c:v>Mid-East Commission</c:v>
                </c:pt>
                <c:pt idx="12">
                  <c:v>Centralina Regional Councils</c:v>
                </c:pt>
                <c:pt idx="13">
                  <c:v>High Country</c:v>
                </c:pt>
                <c:pt idx="14">
                  <c:v>Western Piedmont</c:v>
                </c:pt>
                <c:pt idx="15">
                  <c:v>Piedmont Triad</c:v>
                </c:pt>
                <c:pt idx="16">
                  <c:v>North Carolina</c:v>
                </c:pt>
                <c:pt idx="17">
                  <c:v>United States</c:v>
                </c:pt>
              </c:strCache>
            </c:strRef>
          </c:cat>
          <c:val>
            <c:numRef>
              <c:f>Sheet1!$F$2:$F$19</c:f>
              <c:numCache>
                <c:formatCode>#,##0.0</c:formatCode>
                <c:ptCount val="18"/>
                <c:pt idx="0">
                  <c:v>12.407369637636821</c:v>
                </c:pt>
                <c:pt idx="1">
                  <c:v>17.745013837198208</c:v>
                </c:pt>
                <c:pt idx="2">
                  <c:v>10.901323042998898</c:v>
                </c:pt>
                <c:pt idx="3">
                  <c:v>15.857011915673693</c:v>
                </c:pt>
                <c:pt idx="4">
                  <c:v>15.433070866141732</c:v>
                </c:pt>
                <c:pt idx="5">
                  <c:v>9.1078081617478386</c:v>
                </c:pt>
                <c:pt idx="6">
                  <c:v>9.935483870967742</c:v>
                </c:pt>
                <c:pt idx="7">
                  <c:v>10.255656773435204</c:v>
                </c:pt>
                <c:pt idx="8">
                  <c:v>9.1661341853035143</c:v>
                </c:pt>
                <c:pt idx="9">
                  <c:v>8.3474785084597265</c:v>
                </c:pt>
                <c:pt idx="10">
                  <c:v>16.217659624970331</c:v>
                </c:pt>
                <c:pt idx="11">
                  <c:v>11.910475792988313</c:v>
                </c:pt>
                <c:pt idx="12">
                  <c:v>6.9045382186382733</c:v>
                </c:pt>
                <c:pt idx="13">
                  <c:v>9.0130749319705306</c:v>
                </c:pt>
                <c:pt idx="14">
                  <c:v>10.983243992952731</c:v>
                </c:pt>
                <c:pt idx="15">
                  <c:v>11.471655825964092</c:v>
                </c:pt>
                <c:pt idx="16">
                  <c:v>10.098076663820608</c:v>
                </c:pt>
                <c:pt idx="17">
                  <c:v>10.030658664043282</c:v>
                </c:pt>
              </c:numCache>
            </c:numRef>
          </c:val>
          <c:extLst>
            <c:ext xmlns:c16="http://schemas.microsoft.com/office/drawing/2014/chart" uri="{C3380CC4-5D6E-409C-BE32-E72D297353CC}">
              <c16:uniqueId val="{00000004-E94E-4A17-A67C-D1E1A05BC2D4}"/>
            </c:ext>
          </c:extLst>
        </c:ser>
        <c:ser>
          <c:idx val="5"/>
          <c:order val="5"/>
          <c:tx>
            <c:strRef>
              <c:f>Sheet1!$G$1</c:f>
              <c:strCache>
                <c:ptCount val="1"/>
                <c:pt idx="0">
                  <c:v>$75,000 or more</c:v>
                </c:pt>
              </c:strCache>
            </c:strRef>
          </c:tx>
          <c:spPr>
            <a:solidFill>
              <a:schemeClr val="accent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9</c:f>
              <c:strCache>
                <c:ptCount val="18"/>
                <c:pt idx="0">
                  <c:v>Kerr-Tar</c:v>
                </c:pt>
                <c:pt idx="1">
                  <c:v>Upper Coastal Plain</c:v>
                </c:pt>
                <c:pt idx="2">
                  <c:v>Mid-Carolina</c:v>
                </c:pt>
                <c:pt idx="3">
                  <c:v>Isothermal Regional Commission</c:v>
                </c:pt>
                <c:pt idx="4">
                  <c:v>Southwestern Commission</c:v>
                </c:pt>
                <c:pt idx="5">
                  <c:v>Triangle J</c:v>
                </c:pt>
                <c:pt idx="6">
                  <c:v>Eastern Carolina</c:v>
                </c:pt>
                <c:pt idx="7">
                  <c:v>Albemarle Commission</c:v>
                </c:pt>
                <c:pt idx="8">
                  <c:v>Land-of-Sky Regional Council</c:v>
                </c:pt>
                <c:pt idx="9">
                  <c:v>Cape Fear</c:v>
                </c:pt>
                <c:pt idx="10">
                  <c:v>Lumber River</c:v>
                </c:pt>
                <c:pt idx="11">
                  <c:v>Mid-East Commission</c:v>
                </c:pt>
                <c:pt idx="12">
                  <c:v>Centralina Regional Councils</c:v>
                </c:pt>
                <c:pt idx="13">
                  <c:v>High Country</c:v>
                </c:pt>
                <c:pt idx="14">
                  <c:v>Western Piedmont</c:v>
                </c:pt>
                <c:pt idx="15">
                  <c:v>Piedmont Triad</c:v>
                </c:pt>
                <c:pt idx="16">
                  <c:v>North Carolina</c:v>
                </c:pt>
                <c:pt idx="17">
                  <c:v>United States</c:v>
                </c:pt>
              </c:strCache>
            </c:strRef>
          </c:cat>
          <c:val>
            <c:numRef>
              <c:f>Sheet1!$G$2:$G$19</c:f>
              <c:numCache>
                <c:formatCode>#,##0.0</c:formatCode>
                <c:ptCount val="18"/>
                <c:pt idx="0">
                  <c:v>5.6888387117006927</c:v>
                </c:pt>
                <c:pt idx="1">
                  <c:v>9.0682446233329337</c:v>
                </c:pt>
                <c:pt idx="2">
                  <c:v>6.0592823712948514</c:v>
                </c:pt>
                <c:pt idx="3">
                  <c:v>7.5163147792706333</c:v>
                </c:pt>
                <c:pt idx="4">
                  <c:v>9.1833302186507186</c:v>
                </c:pt>
                <c:pt idx="5">
                  <c:v>3.029870506996363</c:v>
                </c:pt>
                <c:pt idx="6">
                  <c:v>5.7366720315404667</c:v>
                </c:pt>
                <c:pt idx="7">
                  <c:v>5.1169107660683482</c:v>
                </c:pt>
                <c:pt idx="8">
                  <c:v>5.2741605330778274</c:v>
                </c:pt>
                <c:pt idx="9">
                  <c:v>4.686195596645776</c:v>
                </c:pt>
                <c:pt idx="10">
                  <c:v>8.3280856423173795</c:v>
                </c:pt>
                <c:pt idx="11">
                  <c:v>7.3122201956557786</c:v>
                </c:pt>
                <c:pt idx="12">
                  <c:v>3.0147888314823637</c:v>
                </c:pt>
                <c:pt idx="13">
                  <c:v>5.9738336213280672</c:v>
                </c:pt>
                <c:pt idx="14">
                  <c:v>5.7069219440353463</c:v>
                </c:pt>
                <c:pt idx="15">
                  <c:v>5.5224815600687078</c:v>
                </c:pt>
                <c:pt idx="16">
                  <c:v>4.5158084847771969</c:v>
                </c:pt>
                <c:pt idx="17">
                  <c:v>4.2904857511447796</c:v>
                </c:pt>
              </c:numCache>
            </c:numRef>
          </c:val>
          <c:extLst>
            <c:ext xmlns:c16="http://schemas.microsoft.com/office/drawing/2014/chart" uri="{C3380CC4-5D6E-409C-BE32-E72D297353CC}">
              <c16:uniqueId val="{00000005-E94E-4A17-A67C-D1E1A05BC2D4}"/>
            </c:ext>
          </c:extLst>
        </c:ser>
        <c:dLbls>
          <c:showLegendKey val="0"/>
          <c:showVal val="0"/>
          <c:showCatName val="0"/>
          <c:showSerName val="0"/>
          <c:showPercent val="0"/>
          <c:showBubbleSize val="0"/>
        </c:dLbls>
        <c:gapWidth val="60"/>
        <c:overlap val="100"/>
        <c:axId val="979383072"/>
        <c:axId val="979383488"/>
      </c:barChart>
      <c:catAx>
        <c:axId val="979383072"/>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979383488"/>
        <c:crosses val="autoZero"/>
        <c:auto val="1"/>
        <c:lblAlgn val="ctr"/>
        <c:lblOffset val="100"/>
        <c:noMultiLvlLbl val="0"/>
      </c:catAx>
      <c:valAx>
        <c:axId val="979383488"/>
        <c:scaling>
          <c:orientation val="minMax"/>
        </c:scaling>
        <c:delete val="1"/>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crossAx val="97938307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stacked"/>
        <c:varyColors val="0"/>
        <c:ser>
          <c:idx val="0"/>
          <c:order val="0"/>
          <c:tx>
            <c:strRef>
              <c:f>Sheet1!$B$1</c:f>
              <c:strCache>
                <c:ptCount val="1"/>
                <c:pt idx="0">
                  <c:v>Cellular Data Only</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9</c:f>
              <c:strCache>
                <c:ptCount val="18"/>
                <c:pt idx="0">
                  <c:v>Kerr-Tar</c:v>
                </c:pt>
                <c:pt idx="1">
                  <c:v>Upper Coastal Plain</c:v>
                </c:pt>
                <c:pt idx="2">
                  <c:v>Mid-Carolina</c:v>
                </c:pt>
                <c:pt idx="3">
                  <c:v>Isothermal Regional Commission</c:v>
                </c:pt>
                <c:pt idx="4">
                  <c:v>Southwestern Commission</c:v>
                </c:pt>
                <c:pt idx="5">
                  <c:v>Triangle J</c:v>
                </c:pt>
                <c:pt idx="6">
                  <c:v>Eastern Carolina</c:v>
                </c:pt>
                <c:pt idx="7">
                  <c:v>Albemarle Commission</c:v>
                </c:pt>
                <c:pt idx="8">
                  <c:v>Land-of-Sky Regional Council</c:v>
                </c:pt>
                <c:pt idx="9">
                  <c:v>Cape Fear</c:v>
                </c:pt>
                <c:pt idx="10">
                  <c:v>Lumber River</c:v>
                </c:pt>
                <c:pt idx="11">
                  <c:v>Mid-East Commission</c:v>
                </c:pt>
                <c:pt idx="12">
                  <c:v>Centralina Regional Councils</c:v>
                </c:pt>
                <c:pt idx="13">
                  <c:v>High Country</c:v>
                </c:pt>
                <c:pt idx="14">
                  <c:v>Western Piedmont</c:v>
                </c:pt>
                <c:pt idx="15">
                  <c:v>Piedmont Triad</c:v>
                </c:pt>
                <c:pt idx="16">
                  <c:v>North Carolina</c:v>
                </c:pt>
                <c:pt idx="17">
                  <c:v>United States</c:v>
                </c:pt>
              </c:strCache>
            </c:strRef>
          </c:cat>
          <c:val>
            <c:numRef>
              <c:f>Sheet1!$B$2:$B$19</c:f>
              <c:numCache>
                <c:formatCode>#,##0.0</c:formatCode>
                <c:ptCount val="18"/>
                <c:pt idx="0">
                  <c:v>11.53454107399342</c:v>
                </c:pt>
                <c:pt idx="1">
                  <c:v>11.410788381742739</c:v>
                </c:pt>
                <c:pt idx="2">
                  <c:v>10.375993468172846</c:v>
                </c:pt>
                <c:pt idx="3">
                  <c:v>13.614855416969629</c:v>
                </c:pt>
                <c:pt idx="4">
                  <c:v>11.986518773300707</c:v>
                </c:pt>
                <c:pt idx="5">
                  <c:v>7.9294900136483344</c:v>
                </c:pt>
                <c:pt idx="6">
                  <c:v>11.563194535233363</c:v>
                </c:pt>
                <c:pt idx="7">
                  <c:v>11.078675481526002</c:v>
                </c:pt>
                <c:pt idx="8">
                  <c:v>11.222612572856431</c:v>
                </c:pt>
                <c:pt idx="9">
                  <c:v>10.770095217846892</c:v>
                </c:pt>
                <c:pt idx="10">
                  <c:v>13.894781077403346</c:v>
                </c:pt>
                <c:pt idx="11">
                  <c:v>16.663461706553854</c:v>
                </c:pt>
                <c:pt idx="12">
                  <c:v>9.3878775893152806</c:v>
                </c:pt>
                <c:pt idx="13">
                  <c:v>8.4577465617242549</c:v>
                </c:pt>
                <c:pt idx="14">
                  <c:v>11.911417350347314</c:v>
                </c:pt>
                <c:pt idx="15">
                  <c:v>10.698086816061615</c:v>
                </c:pt>
                <c:pt idx="16">
                  <c:v>10.324922596168621</c:v>
                </c:pt>
                <c:pt idx="17">
                  <c:v>11.18474320405404</c:v>
                </c:pt>
              </c:numCache>
            </c:numRef>
          </c:val>
          <c:extLst>
            <c:ext xmlns:c16="http://schemas.microsoft.com/office/drawing/2014/chart" uri="{C3380CC4-5D6E-409C-BE32-E72D297353CC}">
              <c16:uniqueId val="{00000000-785A-460F-9893-815EC0EA7034}"/>
            </c:ext>
          </c:extLst>
        </c:ser>
        <c:ser>
          <c:idx val="1"/>
          <c:order val="1"/>
          <c:tx>
            <c:strRef>
              <c:f>Sheet1!$C$1</c:f>
              <c:strCache>
                <c:ptCount val="1"/>
                <c:pt idx="0">
                  <c:v>No internet</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9</c:f>
              <c:strCache>
                <c:ptCount val="18"/>
                <c:pt idx="0">
                  <c:v>Kerr-Tar</c:v>
                </c:pt>
                <c:pt idx="1">
                  <c:v>Upper Coastal Plain</c:v>
                </c:pt>
                <c:pt idx="2">
                  <c:v>Mid-Carolina</c:v>
                </c:pt>
                <c:pt idx="3">
                  <c:v>Isothermal Regional Commission</c:v>
                </c:pt>
                <c:pt idx="4">
                  <c:v>Southwestern Commission</c:v>
                </c:pt>
                <c:pt idx="5">
                  <c:v>Triangle J</c:v>
                </c:pt>
                <c:pt idx="6">
                  <c:v>Eastern Carolina</c:v>
                </c:pt>
                <c:pt idx="7">
                  <c:v>Albemarle Commission</c:v>
                </c:pt>
                <c:pt idx="8">
                  <c:v>Land-of-Sky Regional Council</c:v>
                </c:pt>
                <c:pt idx="9">
                  <c:v>Cape Fear</c:v>
                </c:pt>
                <c:pt idx="10">
                  <c:v>Lumber River</c:v>
                </c:pt>
                <c:pt idx="11">
                  <c:v>Mid-East Commission</c:v>
                </c:pt>
                <c:pt idx="12">
                  <c:v>Centralina Regional Councils</c:v>
                </c:pt>
                <c:pt idx="13">
                  <c:v>High Country</c:v>
                </c:pt>
                <c:pt idx="14">
                  <c:v>Western Piedmont</c:v>
                </c:pt>
                <c:pt idx="15">
                  <c:v>Piedmont Triad</c:v>
                </c:pt>
                <c:pt idx="16">
                  <c:v>North Carolina</c:v>
                </c:pt>
                <c:pt idx="17">
                  <c:v>United States</c:v>
                </c:pt>
              </c:strCache>
            </c:strRef>
          </c:cat>
          <c:val>
            <c:numRef>
              <c:f>Sheet1!$C$2:$C$19</c:f>
              <c:numCache>
                <c:formatCode>#,##0.0</c:formatCode>
                <c:ptCount val="18"/>
                <c:pt idx="0">
                  <c:v>15.845804568410324</c:v>
                </c:pt>
                <c:pt idx="1">
                  <c:v>22.432465005767806</c:v>
                </c:pt>
                <c:pt idx="2">
                  <c:v>12.317455067850389</c:v>
                </c:pt>
                <c:pt idx="3">
                  <c:v>19.367973600313213</c:v>
                </c:pt>
                <c:pt idx="4">
                  <c:v>19.742840983852538</c:v>
                </c:pt>
                <c:pt idx="5">
                  <c:v>6.8404426417536506</c:v>
                </c:pt>
                <c:pt idx="6">
                  <c:v>13.453147470257552</c:v>
                </c:pt>
                <c:pt idx="7">
                  <c:v>12.833061446438283</c:v>
                </c:pt>
                <c:pt idx="8">
                  <c:v>12.928756870139324</c:v>
                </c:pt>
                <c:pt idx="9">
                  <c:v>9.4423099313074861</c:v>
                </c:pt>
                <c:pt idx="10">
                  <c:v>23.632234051068597</c:v>
                </c:pt>
                <c:pt idx="11">
                  <c:v>15.741307274094016</c:v>
                </c:pt>
                <c:pt idx="12">
                  <c:v>8.4972543139924213</c:v>
                </c:pt>
                <c:pt idx="13">
                  <c:v>16.142542853445335</c:v>
                </c:pt>
                <c:pt idx="14">
                  <c:v>16.005814197263412</c:v>
                </c:pt>
                <c:pt idx="15">
                  <c:v>13.455787249732248</c:v>
                </c:pt>
                <c:pt idx="16">
                  <c:v>11.862168140057561</c:v>
                </c:pt>
                <c:pt idx="17">
                  <c:v>10.256260993380328</c:v>
                </c:pt>
              </c:numCache>
            </c:numRef>
          </c:val>
          <c:extLst>
            <c:ext xmlns:c16="http://schemas.microsoft.com/office/drawing/2014/chart" uri="{C3380CC4-5D6E-409C-BE32-E72D297353CC}">
              <c16:uniqueId val="{00000001-785A-460F-9893-815EC0EA7034}"/>
            </c:ext>
          </c:extLst>
        </c:ser>
        <c:ser>
          <c:idx val="2"/>
          <c:order val="2"/>
          <c:tx>
            <c:strRef>
              <c:f>Sheet1!$D$1</c:f>
              <c:strCache>
                <c:ptCount val="1"/>
                <c:pt idx="0">
                  <c:v>Mobile Device only</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9</c:f>
              <c:strCache>
                <c:ptCount val="18"/>
                <c:pt idx="0">
                  <c:v>Kerr-Tar</c:v>
                </c:pt>
                <c:pt idx="1">
                  <c:v>Upper Coastal Plain</c:v>
                </c:pt>
                <c:pt idx="2">
                  <c:v>Mid-Carolina</c:v>
                </c:pt>
                <c:pt idx="3">
                  <c:v>Isothermal Regional Commission</c:v>
                </c:pt>
                <c:pt idx="4">
                  <c:v>Southwestern Commission</c:v>
                </c:pt>
                <c:pt idx="5">
                  <c:v>Triangle J</c:v>
                </c:pt>
                <c:pt idx="6">
                  <c:v>Eastern Carolina</c:v>
                </c:pt>
                <c:pt idx="7">
                  <c:v>Albemarle Commission</c:v>
                </c:pt>
                <c:pt idx="8">
                  <c:v>Land-of-Sky Regional Council</c:v>
                </c:pt>
                <c:pt idx="9">
                  <c:v>Cape Fear</c:v>
                </c:pt>
                <c:pt idx="10">
                  <c:v>Lumber River</c:v>
                </c:pt>
                <c:pt idx="11">
                  <c:v>Mid-East Commission</c:v>
                </c:pt>
                <c:pt idx="12">
                  <c:v>Centralina Regional Councils</c:v>
                </c:pt>
                <c:pt idx="13">
                  <c:v>High Country</c:v>
                </c:pt>
                <c:pt idx="14">
                  <c:v>Western Piedmont</c:v>
                </c:pt>
                <c:pt idx="15">
                  <c:v>Piedmont Triad</c:v>
                </c:pt>
                <c:pt idx="16">
                  <c:v>North Carolina</c:v>
                </c:pt>
                <c:pt idx="17">
                  <c:v>United States</c:v>
                </c:pt>
              </c:strCache>
            </c:strRef>
          </c:cat>
          <c:val>
            <c:numRef>
              <c:f>Sheet1!$D$2:$D$19</c:f>
              <c:numCache>
                <c:formatCode>#,##0.0</c:formatCode>
                <c:ptCount val="18"/>
                <c:pt idx="0">
                  <c:v>18.385998239355047</c:v>
                </c:pt>
                <c:pt idx="1">
                  <c:v>20.207124532979805</c:v>
                </c:pt>
                <c:pt idx="2">
                  <c:v>16.378143183438922</c:v>
                </c:pt>
                <c:pt idx="3">
                  <c:v>19.064824654622743</c:v>
                </c:pt>
                <c:pt idx="4">
                  <c:v>19.900968386061706</c:v>
                </c:pt>
                <c:pt idx="5">
                  <c:v>10.284692720247593</c:v>
                </c:pt>
                <c:pt idx="6">
                  <c:v>16.988331808079487</c:v>
                </c:pt>
                <c:pt idx="7">
                  <c:v>16.363298131135341</c:v>
                </c:pt>
                <c:pt idx="8">
                  <c:v>13.933989351642243</c:v>
                </c:pt>
                <c:pt idx="9">
                  <c:v>13.392762228735441</c:v>
                </c:pt>
                <c:pt idx="10">
                  <c:v>24.135515888897782</c:v>
                </c:pt>
                <c:pt idx="11">
                  <c:v>15.725573833540199</c:v>
                </c:pt>
                <c:pt idx="12">
                  <c:v>13.406030391110784</c:v>
                </c:pt>
                <c:pt idx="13">
                  <c:v>15.481358604218872</c:v>
                </c:pt>
                <c:pt idx="14">
                  <c:v>18.738207382353352</c:v>
                </c:pt>
                <c:pt idx="15">
                  <c:v>15.92247186408142</c:v>
                </c:pt>
                <c:pt idx="16">
                  <c:v>14.793525341761585</c:v>
                </c:pt>
                <c:pt idx="17">
                  <c:v>14.165656379879616</c:v>
                </c:pt>
              </c:numCache>
            </c:numRef>
          </c:val>
          <c:extLst>
            <c:ext xmlns:c16="http://schemas.microsoft.com/office/drawing/2014/chart" uri="{C3380CC4-5D6E-409C-BE32-E72D297353CC}">
              <c16:uniqueId val="{00000002-785A-460F-9893-815EC0EA7034}"/>
            </c:ext>
          </c:extLst>
        </c:ser>
        <c:ser>
          <c:idx val="3"/>
          <c:order val="3"/>
          <c:tx>
            <c:strRef>
              <c:f>Sheet1!$E$1</c:f>
              <c:strCache>
                <c:ptCount val="1"/>
                <c:pt idx="0">
                  <c:v>No computing device</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9</c:f>
              <c:strCache>
                <c:ptCount val="18"/>
                <c:pt idx="0">
                  <c:v>Kerr-Tar</c:v>
                </c:pt>
                <c:pt idx="1">
                  <c:v>Upper Coastal Plain</c:v>
                </c:pt>
                <c:pt idx="2">
                  <c:v>Mid-Carolina</c:v>
                </c:pt>
                <c:pt idx="3">
                  <c:v>Isothermal Regional Commission</c:v>
                </c:pt>
                <c:pt idx="4">
                  <c:v>Southwestern Commission</c:v>
                </c:pt>
                <c:pt idx="5">
                  <c:v>Triangle J</c:v>
                </c:pt>
                <c:pt idx="6">
                  <c:v>Eastern Carolina</c:v>
                </c:pt>
                <c:pt idx="7">
                  <c:v>Albemarle Commission</c:v>
                </c:pt>
                <c:pt idx="8">
                  <c:v>Land-of-Sky Regional Council</c:v>
                </c:pt>
                <c:pt idx="9">
                  <c:v>Cape Fear</c:v>
                </c:pt>
                <c:pt idx="10">
                  <c:v>Lumber River</c:v>
                </c:pt>
                <c:pt idx="11">
                  <c:v>Mid-East Commission</c:v>
                </c:pt>
                <c:pt idx="12">
                  <c:v>Centralina Regional Councils</c:v>
                </c:pt>
                <c:pt idx="13">
                  <c:v>High Country</c:v>
                </c:pt>
                <c:pt idx="14">
                  <c:v>Western Piedmont</c:v>
                </c:pt>
                <c:pt idx="15">
                  <c:v>Piedmont Triad</c:v>
                </c:pt>
                <c:pt idx="16">
                  <c:v>North Carolina</c:v>
                </c:pt>
                <c:pt idx="17">
                  <c:v>United States</c:v>
                </c:pt>
              </c:strCache>
            </c:strRef>
          </c:cat>
          <c:val>
            <c:numRef>
              <c:f>Sheet1!$E$2:$E$19</c:f>
              <c:numCache>
                <c:formatCode>#,##0.0</c:formatCode>
                <c:ptCount val="18"/>
                <c:pt idx="0">
                  <c:v>10.90673215030348</c:v>
                </c:pt>
                <c:pt idx="1">
                  <c:v>15.543809507412062</c:v>
                </c:pt>
                <c:pt idx="2">
                  <c:v>8.5115288816313033</c:v>
                </c:pt>
                <c:pt idx="3">
                  <c:v>13.08798031209799</c:v>
                </c:pt>
                <c:pt idx="4">
                  <c:v>12.155034107041864</c:v>
                </c:pt>
                <c:pt idx="5">
                  <c:v>4.2120169418760369</c:v>
                </c:pt>
                <c:pt idx="6">
                  <c:v>8.7511439403843632</c:v>
                </c:pt>
                <c:pt idx="7">
                  <c:v>9.6863283821298758</c:v>
                </c:pt>
                <c:pt idx="8">
                  <c:v>9.8597603259841708</c:v>
                </c:pt>
                <c:pt idx="9">
                  <c:v>5.900874222336963</c:v>
                </c:pt>
                <c:pt idx="10">
                  <c:v>14.477107180020813</c:v>
                </c:pt>
                <c:pt idx="11">
                  <c:v>10.550145971365138</c:v>
                </c:pt>
                <c:pt idx="12">
                  <c:v>5.661080245777991</c:v>
                </c:pt>
                <c:pt idx="13">
                  <c:v>12.201320015529594</c:v>
                </c:pt>
                <c:pt idx="14">
                  <c:v>11.680806160812869</c:v>
                </c:pt>
                <c:pt idx="15">
                  <c:v>9.2730018084240964</c:v>
                </c:pt>
                <c:pt idx="16">
                  <c:v>7.9889775754433305</c:v>
                </c:pt>
                <c:pt idx="17">
                  <c:v>6.9457818706909462</c:v>
                </c:pt>
              </c:numCache>
            </c:numRef>
          </c:val>
          <c:extLst>
            <c:ext xmlns:c16="http://schemas.microsoft.com/office/drawing/2014/chart" uri="{C3380CC4-5D6E-409C-BE32-E72D297353CC}">
              <c16:uniqueId val="{00000003-785A-460F-9893-815EC0EA7034}"/>
            </c:ext>
          </c:extLst>
        </c:ser>
        <c:dLbls>
          <c:showLegendKey val="0"/>
          <c:showVal val="0"/>
          <c:showCatName val="0"/>
          <c:showSerName val="0"/>
          <c:showPercent val="0"/>
          <c:showBubbleSize val="0"/>
        </c:dLbls>
        <c:gapWidth val="60"/>
        <c:overlap val="100"/>
        <c:axId val="979383072"/>
        <c:axId val="979383488"/>
      </c:barChart>
      <c:catAx>
        <c:axId val="979383072"/>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979383488"/>
        <c:crosses val="autoZero"/>
        <c:auto val="1"/>
        <c:lblAlgn val="ctr"/>
        <c:lblOffset val="100"/>
        <c:noMultiLvlLbl val="0"/>
      </c:catAx>
      <c:valAx>
        <c:axId val="979383488"/>
        <c:scaling>
          <c:orientation val="minMax"/>
        </c:scaling>
        <c:delete val="1"/>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crossAx val="97938307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C53295A-9BCF-40CC-8104-C4D4D0ACFE5E}" type="datetimeFigureOut">
              <a:rPr lang="en-US" smtClean="0"/>
              <a:t>2/21/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95A04B5-57CB-4DEE-B4A3-5798A03AD3C1}" type="slidenum">
              <a:rPr lang="en-US" smtClean="0"/>
              <a:t>‹#›</a:t>
            </a:fld>
            <a:endParaRPr lang="en-US"/>
          </a:p>
        </p:txBody>
      </p:sp>
    </p:spTree>
    <p:extLst>
      <p:ext uri="{BB962C8B-B14F-4D97-AF65-F5344CB8AC3E}">
        <p14:creationId xmlns:p14="http://schemas.microsoft.com/office/powerpoint/2010/main" val="154826550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583362-3BBF-75E1-6BA8-28F77DBD6385}"/>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21B9967C-56CD-EB9A-930F-11F11F5BAF2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0B97CDA1-301A-D55E-A437-C8DB090BD053}"/>
              </a:ext>
            </a:extLst>
          </p:cNvPr>
          <p:cNvSpPr>
            <a:spLocks noGrp="1"/>
          </p:cNvSpPr>
          <p:nvPr>
            <p:ph type="dt" sz="half" idx="10"/>
          </p:nvPr>
        </p:nvSpPr>
        <p:spPr/>
        <p:txBody>
          <a:bodyPr/>
          <a:lstStyle/>
          <a:p>
            <a:fld id="{A3BD1950-4A1F-4CB4-8856-46EBDE57C081}" type="datetimeFigureOut">
              <a:rPr lang="en-US" smtClean="0"/>
              <a:t>2/21/2023</a:t>
            </a:fld>
            <a:endParaRPr lang="en-US"/>
          </a:p>
        </p:txBody>
      </p:sp>
      <p:sp>
        <p:nvSpPr>
          <p:cNvPr id="5" name="Footer Placeholder 4">
            <a:extLst>
              <a:ext uri="{FF2B5EF4-FFF2-40B4-BE49-F238E27FC236}">
                <a16:creationId xmlns:a16="http://schemas.microsoft.com/office/drawing/2014/main" id="{F38BD7D3-8904-03A8-B5A8-4E08ED7B22D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04BF3E0-81BE-F5F3-59AF-E2070CA69C41}"/>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67742699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F033ED-FFB9-919A-D0F9-B7F7DBF58454}"/>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1E11D437-8D2E-40EA-F29C-CCA99F3C0609}"/>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7007C03-8C38-10EF-545C-7776184D9881}"/>
              </a:ext>
            </a:extLst>
          </p:cNvPr>
          <p:cNvSpPr>
            <a:spLocks noGrp="1"/>
          </p:cNvSpPr>
          <p:nvPr>
            <p:ph type="dt" sz="half" idx="10"/>
          </p:nvPr>
        </p:nvSpPr>
        <p:spPr/>
        <p:txBody>
          <a:bodyPr/>
          <a:lstStyle/>
          <a:p>
            <a:fld id="{A3BD1950-4A1F-4CB4-8856-46EBDE57C081}" type="datetimeFigureOut">
              <a:rPr lang="en-US" smtClean="0"/>
              <a:t>2/21/2023</a:t>
            </a:fld>
            <a:endParaRPr lang="en-US"/>
          </a:p>
        </p:txBody>
      </p:sp>
      <p:sp>
        <p:nvSpPr>
          <p:cNvPr id="5" name="Footer Placeholder 4">
            <a:extLst>
              <a:ext uri="{FF2B5EF4-FFF2-40B4-BE49-F238E27FC236}">
                <a16:creationId xmlns:a16="http://schemas.microsoft.com/office/drawing/2014/main" id="{C252EB74-F222-348D-13F2-FF083D296D0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293BE62-1D21-CDFA-A8BB-D322F662A092}"/>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74998560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F86467C-BCB2-6DCC-672D-09DABC56471D}"/>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BD732F71-66F7-0573-6C9D-6A0B947110D7}"/>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606C41B-A4D4-8B5A-E980-5B167AF32419}"/>
              </a:ext>
            </a:extLst>
          </p:cNvPr>
          <p:cNvSpPr>
            <a:spLocks noGrp="1"/>
          </p:cNvSpPr>
          <p:nvPr>
            <p:ph type="dt" sz="half" idx="10"/>
          </p:nvPr>
        </p:nvSpPr>
        <p:spPr/>
        <p:txBody>
          <a:bodyPr/>
          <a:lstStyle/>
          <a:p>
            <a:fld id="{A3BD1950-4A1F-4CB4-8856-46EBDE57C081}" type="datetimeFigureOut">
              <a:rPr lang="en-US" smtClean="0"/>
              <a:t>2/21/2023</a:t>
            </a:fld>
            <a:endParaRPr lang="en-US"/>
          </a:p>
        </p:txBody>
      </p:sp>
      <p:sp>
        <p:nvSpPr>
          <p:cNvPr id="5" name="Footer Placeholder 4">
            <a:extLst>
              <a:ext uri="{FF2B5EF4-FFF2-40B4-BE49-F238E27FC236}">
                <a16:creationId xmlns:a16="http://schemas.microsoft.com/office/drawing/2014/main" id="{5F079019-70C7-DE2E-A79A-A536FBF5220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D249EC7-4458-6DB7-04D4-98078A1E1698}"/>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01714312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F6FFD84-6D17-D9B2-54F1-A300AEF1DA86}"/>
              </a:ext>
            </a:extLst>
          </p:cNvPr>
          <p:cNvSpPr>
            <a:spLocks noGrp="1"/>
          </p:cNvSpPr>
          <p:nvPr>
            <p:ph idx="1"/>
          </p:nvPr>
        </p:nvSpPr>
        <p:spPr>
          <a:xfrm>
            <a:off x="838200" y="1532467"/>
            <a:ext cx="10515600" cy="464449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BFDA0428-9FA1-9437-879C-E249E868B5F7}"/>
              </a:ext>
            </a:extLst>
          </p:cNvPr>
          <p:cNvSpPr>
            <a:spLocks noGrp="1"/>
          </p:cNvSpPr>
          <p:nvPr>
            <p:ph type="dt" sz="half" idx="10"/>
          </p:nvPr>
        </p:nvSpPr>
        <p:spPr/>
        <p:txBody>
          <a:bodyPr/>
          <a:lstStyle/>
          <a:p>
            <a:fld id="{A3BD1950-4A1F-4CB4-8856-46EBDE57C081}" type="datetimeFigureOut">
              <a:rPr lang="en-US" smtClean="0"/>
              <a:t>2/21/2023</a:t>
            </a:fld>
            <a:endParaRPr lang="en-US"/>
          </a:p>
        </p:txBody>
      </p:sp>
      <p:sp>
        <p:nvSpPr>
          <p:cNvPr id="8" name="Footer Placeholder 7">
            <a:extLst>
              <a:ext uri="{FF2B5EF4-FFF2-40B4-BE49-F238E27FC236}">
                <a16:creationId xmlns:a16="http://schemas.microsoft.com/office/drawing/2014/main" id="{3C7B9A5D-B999-7DF4-9E20-FA03681231BF}"/>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6D78C3B4-E403-DB5B-D7F7-62F0BD36AE85}"/>
              </a:ext>
            </a:extLst>
          </p:cNvPr>
          <p:cNvSpPr>
            <a:spLocks noGrp="1"/>
          </p:cNvSpPr>
          <p:nvPr>
            <p:ph type="sldNum" sz="quarter" idx="12"/>
          </p:nvPr>
        </p:nvSpPr>
        <p:spPr/>
        <p:txBody>
          <a:bodyPr/>
          <a:lstStyle/>
          <a:p>
            <a:fld id="{C64EAC8B-BEFB-4B38-9BB2-033FAC71B8CD}" type="slidenum">
              <a:rPr lang="en-US" smtClean="0"/>
              <a:t>‹#›</a:t>
            </a:fld>
            <a:endParaRPr lang="en-US"/>
          </a:p>
        </p:txBody>
      </p:sp>
      <p:sp>
        <p:nvSpPr>
          <p:cNvPr id="10" name="Title 9">
            <a:extLst>
              <a:ext uri="{FF2B5EF4-FFF2-40B4-BE49-F238E27FC236}">
                <a16:creationId xmlns:a16="http://schemas.microsoft.com/office/drawing/2014/main" id="{8D14FB93-B07E-4E84-8D82-6B604A58B688}"/>
              </a:ext>
            </a:extLst>
          </p:cNvPr>
          <p:cNvSpPr>
            <a:spLocks noGrp="1"/>
          </p:cNvSpPr>
          <p:nvPr>
            <p:ph type="title"/>
          </p:nvPr>
        </p:nvSpPr>
        <p:spPr>
          <a:xfrm>
            <a:off x="838200" y="365125"/>
            <a:ext cx="10515600" cy="987955"/>
          </a:xfrm>
        </p:spPr>
        <p:txBody>
          <a:bodyPr/>
          <a:lstStyle/>
          <a:p>
            <a:r>
              <a:rPr lang="en-US" dirty="0"/>
              <a:t>Click to edit Master title style</a:t>
            </a:r>
          </a:p>
        </p:txBody>
      </p:sp>
    </p:spTree>
    <p:extLst>
      <p:ext uri="{BB962C8B-B14F-4D97-AF65-F5344CB8AC3E}">
        <p14:creationId xmlns:p14="http://schemas.microsoft.com/office/powerpoint/2010/main" val="30828318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CF7EB4-C8B7-4FF4-7BD2-F919D156037D}"/>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364760FB-54D6-37F1-EAFA-A8A1B6C0EE1E}"/>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8AAD1985-5E46-3053-9344-8A861BFAF6DE}"/>
              </a:ext>
            </a:extLst>
          </p:cNvPr>
          <p:cNvSpPr>
            <a:spLocks noGrp="1"/>
          </p:cNvSpPr>
          <p:nvPr>
            <p:ph type="dt" sz="half" idx="10"/>
          </p:nvPr>
        </p:nvSpPr>
        <p:spPr/>
        <p:txBody>
          <a:bodyPr/>
          <a:lstStyle/>
          <a:p>
            <a:fld id="{A3BD1950-4A1F-4CB4-8856-46EBDE57C081}" type="datetimeFigureOut">
              <a:rPr lang="en-US" smtClean="0"/>
              <a:t>2/21/2023</a:t>
            </a:fld>
            <a:endParaRPr lang="en-US"/>
          </a:p>
        </p:txBody>
      </p:sp>
      <p:sp>
        <p:nvSpPr>
          <p:cNvPr id="5" name="Footer Placeholder 4">
            <a:extLst>
              <a:ext uri="{FF2B5EF4-FFF2-40B4-BE49-F238E27FC236}">
                <a16:creationId xmlns:a16="http://schemas.microsoft.com/office/drawing/2014/main" id="{9FCAFDF5-DC30-4775-FA61-86262F6FCE1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8800A31-C229-F76D-4C8C-D6438DB57AF7}"/>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95003656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3A1242-9F45-4A68-E9C2-55CA2631B4E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1385ED6-1D9E-B238-8365-C424EB716E2B}"/>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FCC4D184-F6AE-3DDC-8380-48906DD05D9A}"/>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6D30B5FD-39CD-BF94-BF4E-6EC46E013E86}"/>
              </a:ext>
            </a:extLst>
          </p:cNvPr>
          <p:cNvSpPr>
            <a:spLocks noGrp="1"/>
          </p:cNvSpPr>
          <p:nvPr>
            <p:ph type="dt" sz="half" idx="10"/>
          </p:nvPr>
        </p:nvSpPr>
        <p:spPr/>
        <p:txBody>
          <a:bodyPr/>
          <a:lstStyle/>
          <a:p>
            <a:fld id="{A3BD1950-4A1F-4CB4-8856-46EBDE57C081}" type="datetimeFigureOut">
              <a:rPr lang="en-US" smtClean="0"/>
              <a:t>2/21/2023</a:t>
            </a:fld>
            <a:endParaRPr lang="en-US"/>
          </a:p>
        </p:txBody>
      </p:sp>
      <p:sp>
        <p:nvSpPr>
          <p:cNvPr id="6" name="Footer Placeholder 5">
            <a:extLst>
              <a:ext uri="{FF2B5EF4-FFF2-40B4-BE49-F238E27FC236}">
                <a16:creationId xmlns:a16="http://schemas.microsoft.com/office/drawing/2014/main" id="{1B7B1026-2C07-8CF8-FC4E-E83A0180FD6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1B818E2-89BA-F683-3E31-966A2B8899A2}"/>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31837718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E8DD3D-3898-2379-7552-C366A3D1279B}"/>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6E783529-3604-5400-41CE-524B3A043C7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52FEA6F1-F355-D634-FC3B-FAC4ECBFE3DD}"/>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7D3062F-A354-0E0B-900B-64CCCAE4347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665597EC-A06D-136E-59C4-8A1705FB5A85}"/>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A27E329-431A-A7B9-FDBB-9EBC2BAD5653}"/>
              </a:ext>
            </a:extLst>
          </p:cNvPr>
          <p:cNvSpPr>
            <a:spLocks noGrp="1"/>
          </p:cNvSpPr>
          <p:nvPr>
            <p:ph type="dt" sz="half" idx="10"/>
          </p:nvPr>
        </p:nvSpPr>
        <p:spPr/>
        <p:txBody>
          <a:bodyPr/>
          <a:lstStyle/>
          <a:p>
            <a:fld id="{A3BD1950-4A1F-4CB4-8856-46EBDE57C081}" type="datetimeFigureOut">
              <a:rPr lang="en-US" smtClean="0"/>
              <a:t>2/21/2023</a:t>
            </a:fld>
            <a:endParaRPr lang="en-US"/>
          </a:p>
        </p:txBody>
      </p:sp>
      <p:sp>
        <p:nvSpPr>
          <p:cNvPr id="8" name="Footer Placeholder 7">
            <a:extLst>
              <a:ext uri="{FF2B5EF4-FFF2-40B4-BE49-F238E27FC236}">
                <a16:creationId xmlns:a16="http://schemas.microsoft.com/office/drawing/2014/main" id="{0B0E4C72-842A-5B3F-B745-6E7FBE947261}"/>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40BB94F2-E304-7B86-165C-7B4D44B4C997}"/>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70499066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685516-FF4A-580B-361B-00C83E709529}"/>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7F6861EF-6EED-71D9-674A-97E556DFA800}"/>
              </a:ext>
            </a:extLst>
          </p:cNvPr>
          <p:cNvSpPr>
            <a:spLocks noGrp="1"/>
          </p:cNvSpPr>
          <p:nvPr>
            <p:ph type="dt" sz="half" idx="10"/>
          </p:nvPr>
        </p:nvSpPr>
        <p:spPr/>
        <p:txBody>
          <a:bodyPr/>
          <a:lstStyle/>
          <a:p>
            <a:fld id="{A3BD1950-4A1F-4CB4-8856-46EBDE57C081}" type="datetimeFigureOut">
              <a:rPr lang="en-US" smtClean="0"/>
              <a:t>2/21/2023</a:t>
            </a:fld>
            <a:endParaRPr lang="en-US"/>
          </a:p>
        </p:txBody>
      </p:sp>
      <p:sp>
        <p:nvSpPr>
          <p:cNvPr id="4" name="Footer Placeholder 3">
            <a:extLst>
              <a:ext uri="{FF2B5EF4-FFF2-40B4-BE49-F238E27FC236}">
                <a16:creationId xmlns:a16="http://schemas.microsoft.com/office/drawing/2014/main" id="{B2D1850F-9900-776D-2CDF-B699D8535C41}"/>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CCEC3943-9DC4-C938-3B40-7BEC758B359B}"/>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41906332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9DD2EEA-F47D-0612-55C7-E2F90055ED42}"/>
              </a:ext>
            </a:extLst>
          </p:cNvPr>
          <p:cNvSpPr>
            <a:spLocks noGrp="1"/>
          </p:cNvSpPr>
          <p:nvPr>
            <p:ph type="dt" sz="half" idx="10"/>
          </p:nvPr>
        </p:nvSpPr>
        <p:spPr/>
        <p:txBody>
          <a:bodyPr/>
          <a:lstStyle/>
          <a:p>
            <a:fld id="{A3BD1950-4A1F-4CB4-8856-46EBDE57C081}" type="datetimeFigureOut">
              <a:rPr lang="en-US" smtClean="0"/>
              <a:t>2/21/2023</a:t>
            </a:fld>
            <a:endParaRPr lang="en-US"/>
          </a:p>
        </p:txBody>
      </p:sp>
      <p:sp>
        <p:nvSpPr>
          <p:cNvPr id="3" name="Footer Placeholder 2">
            <a:extLst>
              <a:ext uri="{FF2B5EF4-FFF2-40B4-BE49-F238E27FC236}">
                <a16:creationId xmlns:a16="http://schemas.microsoft.com/office/drawing/2014/main" id="{F0192363-731F-D7B3-5A6E-65523268A995}"/>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45CD7CB6-5467-6E2B-09B0-3E8B435A5FF0}"/>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52239457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D1658-3A16-39DF-B036-C4B8113EE21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1E4F1764-B7AE-B597-9937-BD1516B1F19B}"/>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63B637F9-E006-CA95-A6B1-BFD5C6003D6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B7B8DB7-4CCA-B6D6-CAD0-599711FE6DD1}"/>
              </a:ext>
            </a:extLst>
          </p:cNvPr>
          <p:cNvSpPr>
            <a:spLocks noGrp="1"/>
          </p:cNvSpPr>
          <p:nvPr>
            <p:ph type="dt" sz="half" idx="10"/>
          </p:nvPr>
        </p:nvSpPr>
        <p:spPr/>
        <p:txBody>
          <a:bodyPr/>
          <a:lstStyle/>
          <a:p>
            <a:fld id="{A3BD1950-4A1F-4CB4-8856-46EBDE57C081}" type="datetimeFigureOut">
              <a:rPr lang="en-US" smtClean="0"/>
              <a:t>2/21/2023</a:t>
            </a:fld>
            <a:endParaRPr lang="en-US"/>
          </a:p>
        </p:txBody>
      </p:sp>
      <p:sp>
        <p:nvSpPr>
          <p:cNvPr id="6" name="Footer Placeholder 5">
            <a:extLst>
              <a:ext uri="{FF2B5EF4-FFF2-40B4-BE49-F238E27FC236}">
                <a16:creationId xmlns:a16="http://schemas.microsoft.com/office/drawing/2014/main" id="{E3887195-A800-8D95-95A4-43B034183E2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0E6D389-4905-394B-0582-4B8C915D178A}"/>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62652908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869DCA-F51B-9142-E414-C538CEB8BE7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2BDF881C-9E37-B582-CCFF-5E50F7D2BE2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F4601094-8E15-AC6F-DCEA-32EF34B9DBF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51B4284-82D5-77B4-B6C6-D00C4C52E13C}"/>
              </a:ext>
            </a:extLst>
          </p:cNvPr>
          <p:cNvSpPr>
            <a:spLocks noGrp="1"/>
          </p:cNvSpPr>
          <p:nvPr>
            <p:ph type="dt" sz="half" idx="10"/>
          </p:nvPr>
        </p:nvSpPr>
        <p:spPr/>
        <p:txBody>
          <a:bodyPr/>
          <a:lstStyle/>
          <a:p>
            <a:fld id="{A3BD1950-4A1F-4CB4-8856-46EBDE57C081}" type="datetimeFigureOut">
              <a:rPr lang="en-US" smtClean="0"/>
              <a:t>2/21/2023</a:t>
            </a:fld>
            <a:endParaRPr lang="en-US"/>
          </a:p>
        </p:txBody>
      </p:sp>
      <p:sp>
        <p:nvSpPr>
          <p:cNvPr id="6" name="Footer Placeholder 5">
            <a:extLst>
              <a:ext uri="{FF2B5EF4-FFF2-40B4-BE49-F238E27FC236}">
                <a16:creationId xmlns:a16="http://schemas.microsoft.com/office/drawing/2014/main" id="{B879BB1F-64DA-831B-FA96-6DEB290F0E4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D8B1521-FAD2-BCF7-E48B-F81A652EAAD1}"/>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277304572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5EFAB37-C0FB-7B87-780A-589F0D690864}"/>
              </a:ext>
            </a:extLst>
          </p:cNvPr>
          <p:cNvGraphicFramePr>
            <a:graphicFrameLocks noChangeAspect="1"/>
          </p:cNvGraphicFramePr>
          <p:nvPr userDrawn="1">
            <p:custDataLst>
              <p:tags r:id="rId13"/>
            </p:custDataLst>
            <p:extLst>
              <p:ext uri="{D42A27DB-BD31-4B8C-83A1-F6EECF244321}">
                <p14:modId xmlns:p14="http://schemas.microsoft.com/office/powerpoint/2010/main" val="36830886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532" imgH="530" progId="TCLayout.ActiveDocument.1">
                  <p:embed/>
                </p:oleObj>
              </mc:Choice>
              <mc:Fallback>
                <p:oleObj name="think-cell Slide" r:id="rId14" imgW="532" imgH="530" progId="TCLayout.ActiveDocument.1">
                  <p:embed/>
                  <p:pic>
                    <p:nvPicPr>
                      <p:cNvPr id="8" name="Object 7" hidden="1">
                        <a:extLst>
                          <a:ext uri="{FF2B5EF4-FFF2-40B4-BE49-F238E27FC236}">
                            <a16:creationId xmlns:a16="http://schemas.microsoft.com/office/drawing/2014/main" id="{75EFAB37-C0FB-7B87-780A-589F0D690864}"/>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41467D0C-C34C-D407-FA21-BABC5948970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B31A7D86-6356-73C4-5754-0189C8F2242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4BEF03B-DD65-C739-1853-BB8DF8231F4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3BD1950-4A1F-4CB4-8856-46EBDE57C081}" type="datetimeFigureOut">
              <a:rPr lang="en-US" smtClean="0"/>
              <a:t>2/21/2023</a:t>
            </a:fld>
            <a:endParaRPr lang="en-US"/>
          </a:p>
        </p:txBody>
      </p:sp>
      <p:sp>
        <p:nvSpPr>
          <p:cNvPr id="5" name="Footer Placeholder 4">
            <a:extLst>
              <a:ext uri="{FF2B5EF4-FFF2-40B4-BE49-F238E27FC236}">
                <a16:creationId xmlns:a16="http://schemas.microsoft.com/office/drawing/2014/main" id="{9D4F3D9F-3AAF-9FE0-AD3F-45DDE1E9C50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B048277B-B584-F6D9-AF1C-5B55EFF8818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64EAC8B-BEFB-4B38-9BB2-033FAC71B8CD}" type="slidenum">
              <a:rPr lang="en-US" smtClean="0"/>
              <a:t>‹#›</a:t>
            </a:fld>
            <a:endParaRPr lang="en-US"/>
          </a:p>
        </p:txBody>
      </p:sp>
    </p:spTree>
    <p:extLst>
      <p:ext uri="{BB962C8B-B14F-4D97-AF65-F5344CB8AC3E}">
        <p14:creationId xmlns:p14="http://schemas.microsoft.com/office/powerpoint/2010/main" val="330751021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chart" Target="../charts/chart8.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5.xml"/><Relationship Id="rId5" Type="http://schemas.openxmlformats.org/officeDocument/2006/relationships/chart" Target="../charts/chart9.xml"/><Relationship Id="rId4" Type="http://schemas.openxmlformats.org/officeDocument/2006/relationships/image" Target="../media/image1.emf"/></Relationships>
</file>

<file path=ppt/slides/_rels/slide1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chart" Target="../charts/chart10.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chart" Target="../charts/chart11.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6.xml"/><Relationship Id="rId6" Type="http://schemas.openxmlformats.org/officeDocument/2006/relationships/image" Target="../media/image8.png"/><Relationship Id="rId5" Type="http://schemas.openxmlformats.org/officeDocument/2006/relationships/chart" Target="../charts/chart12.xml"/><Relationship Id="rId4" Type="http://schemas.openxmlformats.org/officeDocument/2006/relationships/image" Target="../media/image1.emf"/></Relationships>
</file>

<file path=ppt/slides/_rels/slide1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chart" Target="../charts/chart13.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chart" Target="../charts/chart14.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chart" Target="../charts/chart15.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chart" Target="../charts/chart16.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chart" Target="../charts/chart17.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chart" Target="../charts/chart18.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chart" Target="../charts/chart19.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chart" Target="../charts/chart20.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chart" Target="../charts/chart21.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chart" Target="../charts/chart22.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chart" Target="../charts/chart23.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chart" Target="../charts/chart24.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chart" Target="../charts/chart25.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chart" Target="../charts/chart26.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chart" Target="../charts/chart27.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chart" Target="../charts/chart28.xml"/><Relationship Id="rId2" Type="http://schemas.openxmlformats.org/officeDocument/2006/relationships/hyperlink" Target="https://www.nber.org/papers/w26948" TargetMode="Externa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chart" Target="../charts/chart29.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chart" Target="../charts/chart30.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chart" Target="../charts/chart5.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3.xml"/><Relationship Id="rId5" Type="http://schemas.openxmlformats.org/officeDocument/2006/relationships/chart" Target="../charts/chart6.xml"/><Relationship Id="rId4" Type="http://schemas.openxmlformats.org/officeDocument/2006/relationships/image" Target="../media/image1.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4.xml"/><Relationship Id="rId5" Type="http://schemas.openxmlformats.org/officeDocument/2006/relationships/chart" Target="../charts/chart7.xml"/><Relationship Id="rId4" Type="http://schemas.openxmlformats.org/officeDocument/2006/relationships/image" Target="../media/image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close up of a piece of paper with a pencil laying on top">
            <a:extLst>
              <a:ext uri="{FF2B5EF4-FFF2-40B4-BE49-F238E27FC236}">
                <a16:creationId xmlns:a16="http://schemas.microsoft.com/office/drawing/2014/main" id="{76E066C6-C575-FC37-9A5A-777D3D1F8FB3}"/>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20" y="975"/>
            <a:ext cx="12191980" cy="6858000"/>
          </a:xfrm>
          <a:prstGeom prst="rect">
            <a:avLst/>
          </a:prstGeom>
        </p:spPr>
      </p:pic>
      <p:sp>
        <p:nvSpPr>
          <p:cNvPr id="6" name="Rectangle 5">
            <a:extLst>
              <a:ext uri="{FF2B5EF4-FFF2-40B4-BE49-F238E27FC236}">
                <a16:creationId xmlns:a16="http://schemas.microsoft.com/office/drawing/2014/main" id="{EC0D6789-6A37-0043-937E-6C3320ED0C53}"/>
              </a:ext>
            </a:extLst>
          </p:cNvPr>
          <p:cNvSpPr/>
          <p:nvPr/>
        </p:nvSpPr>
        <p:spPr>
          <a:xfrm>
            <a:off x="7746997" y="1571625"/>
            <a:ext cx="4038600" cy="4482042"/>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7" name="TextBox 6">
            <a:extLst>
              <a:ext uri="{FF2B5EF4-FFF2-40B4-BE49-F238E27FC236}">
                <a16:creationId xmlns:a16="http://schemas.microsoft.com/office/drawing/2014/main" id="{B1E0ABEC-554C-720A-2772-F0324C8E93CA}"/>
              </a:ext>
            </a:extLst>
          </p:cNvPr>
          <p:cNvSpPr txBox="1"/>
          <p:nvPr/>
        </p:nvSpPr>
        <p:spPr>
          <a:xfrm>
            <a:off x="7844363" y="2175933"/>
            <a:ext cx="3852333" cy="3754874"/>
          </a:xfrm>
          <a:prstGeom prst="rect">
            <a:avLst/>
          </a:prstGeom>
          <a:noFill/>
        </p:spPr>
        <p:txBody>
          <a:bodyPr wrap="square" rtlCol="0">
            <a:spAutoFit/>
          </a:bodyPr>
          <a:lstStyle/>
          <a:p>
            <a:r>
              <a:rPr lang="en-US" sz="4000" dirty="0">
                <a:solidFill>
                  <a:schemeClr val="bg1"/>
                </a:solidFill>
              </a:rPr>
              <a:t>North Carolina</a:t>
            </a:r>
          </a:p>
          <a:p>
            <a:r>
              <a:rPr lang="en-US" sz="3000" dirty="0">
                <a:solidFill>
                  <a:schemeClr val="bg1"/>
                </a:solidFill>
              </a:rPr>
              <a:t>2021 Digital </a:t>
            </a:r>
          </a:p>
          <a:p>
            <a:r>
              <a:rPr lang="en-US" sz="3000" dirty="0">
                <a:solidFill>
                  <a:schemeClr val="bg1"/>
                </a:solidFill>
              </a:rPr>
              <a:t>Inclusion Profile</a:t>
            </a:r>
          </a:p>
          <a:p>
            <a:endParaRPr lang="en-US" sz="3000" dirty="0">
              <a:solidFill>
                <a:schemeClr val="bg1"/>
              </a:solidFill>
            </a:endParaRPr>
          </a:p>
          <a:p>
            <a:endParaRPr lang="en-US" sz="2000" dirty="0">
              <a:solidFill>
                <a:schemeClr val="bg1"/>
              </a:solidFill>
            </a:endParaRPr>
          </a:p>
          <a:p>
            <a:endParaRPr lang="en-US" sz="2000" dirty="0">
              <a:solidFill>
                <a:schemeClr val="bg1"/>
              </a:solidFill>
            </a:endParaRPr>
          </a:p>
          <a:p>
            <a:endParaRPr lang="en-US" sz="2000" dirty="0">
              <a:solidFill>
                <a:schemeClr val="bg1"/>
              </a:solidFill>
            </a:endParaRPr>
          </a:p>
          <a:p>
            <a:r>
              <a:rPr lang="en-US" sz="1600" dirty="0">
                <a:solidFill>
                  <a:schemeClr val="bg1"/>
                </a:solidFill>
              </a:rPr>
              <a:t>Prepared by:</a:t>
            </a:r>
            <a:br>
              <a:rPr lang="en-US" sz="1600" dirty="0">
                <a:solidFill>
                  <a:schemeClr val="bg1"/>
                </a:solidFill>
              </a:rPr>
            </a:br>
            <a:r>
              <a:rPr lang="en-US" sz="1600" dirty="0">
                <a:solidFill>
                  <a:schemeClr val="bg1"/>
                </a:solidFill>
              </a:rPr>
              <a:t>Roberto Gallardo, Ph.D.</a:t>
            </a:r>
          </a:p>
          <a:p>
            <a:r>
              <a:rPr lang="en-US" sz="1600" dirty="0">
                <a:solidFill>
                  <a:schemeClr val="bg1"/>
                </a:solidFill>
              </a:rPr>
              <a:t>February 2023</a:t>
            </a:r>
          </a:p>
        </p:txBody>
      </p:sp>
      <p:cxnSp>
        <p:nvCxnSpPr>
          <p:cNvPr id="10" name="Straight Connector 9">
            <a:extLst>
              <a:ext uri="{FF2B5EF4-FFF2-40B4-BE49-F238E27FC236}">
                <a16:creationId xmlns:a16="http://schemas.microsoft.com/office/drawing/2014/main" id="{13EFA7DF-2E74-6B37-435B-B8B810175C14}"/>
              </a:ext>
            </a:extLst>
          </p:cNvPr>
          <p:cNvCxnSpPr>
            <a:cxnSpLocks/>
          </p:cNvCxnSpPr>
          <p:nvPr/>
        </p:nvCxnSpPr>
        <p:spPr>
          <a:xfrm>
            <a:off x="8031695" y="4837514"/>
            <a:ext cx="3399363" cy="0"/>
          </a:xfrm>
          <a:prstGeom prst="line">
            <a:avLst/>
          </a:prstGeom>
          <a:ln w="19050"/>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284690167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245533" y="312576"/>
            <a:ext cx="11671300" cy="998008"/>
          </a:xfrm>
        </p:spPr>
        <p:txBody>
          <a:bodyPr>
            <a:normAutofit/>
          </a:bodyPr>
          <a:lstStyle/>
          <a:p>
            <a:r>
              <a:rPr lang="en-US" sz="3400" dirty="0"/>
              <a:t>No Home Internet Access by Household Income Grou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0</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graphicFrame>
        <p:nvGraphicFramePr>
          <p:cNvPr id="3" name="Content Placeholder 6">
            <a:extLst>
              <a:ext uri="{FF2B5EF4-FFF2-40B4-BE49-F238E27FC236}">
                <a16:creationId xmlns:a16="http://schemas.microsoft.com/office/drawing/2014/main" id="{A8DE9692-3D4F-CD54-3B99-1AD8CB1A1E28}"/>
              </a:ext>
            </a:extLst>
          </p:cNvPr>
          <p:cNvGraphicFramePr>
            <a:graphicFrameLocks noGrp="1"/>
          </p:cNvGraphicFramePr>
          <p:nvPr>
            <p:ph idx="1"/>
            <p:extLst>
              <p:ext uri="{D42A27DB-BD31-4B8C-83A1-F6EECF244321}">
                <p14:modId xmlns:p14="http://schemas.microsoft.com/office/powerpoint/2010/main" val="3086707270"/>
              </p:ext>
            </p:extLst>
          </p:nvPr>
        </p:nvGraphicFramePr>
        <p:xfrm>
          <a:off x="245533" y="1028700"/>
          <a:ext cx="11671300" cy="5372100"/>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17501021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4A9CFA-CB0E-F695-E87C-EC247F47FA4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CF4A9CFA-CB0E-F695-E87C-EC247F47FA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245533" y="312576"/>
            <a:ext cx="11671300" cy="998008"/>
          </a:xfrm>
        </p:spPr>
        <p:txBody>
          <a:bodyPr vert="horz">
            <a:normAutofit/>
          </a:bodyPr>
          <a:lstStyle/>
          <a:p>
            <a:r>
              <a:rPr lang="en-US" sz="3400" dirty="0"/>
              <a:t>Share of Households by Digital Distress Metric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1</a:t>
            </a:fld>
            <a:endParaRPr lang="en-US"/>
          </a:p>
        </p:txBody>
      </p:sp>
      <p:sp>
        <p:nvSpPr>
          <p:cNvPr id="7" name="TextBox 6">
            <a:extLst>
              <a:ext uri="{FF2B5EF4-FFF2-40B4-BE49-F238E27FC236}">
                <a16:creationId xmlns:a16="http://schemas.microsoft.com/office/drawing/2014/main" id="{C133F09C-343C-FA8C-6D94-922636936983}"/>
              </a:ext>
            </a:extLst>
          </p:cNvPr>
          <p:cNvSpPr txBox="1"/>
          <p:nvPr/>
        </p:nvSpPr>
        <p:spPr>
          <a:xfrm>
            <a:off x="245533" y="6400412"/>
            <a:ext cx="10408747" cy="461665"/>
          </a:xfrm>
          <a:prstGeom prst="rect">
            <a:avLst/>
          </a:prstGeom>
          <a:noFill/>
        </p:spPr>
        <p:txBody>
          <a:bodyPr wrap="none" rtlCol="0">
            <a:spAutoFit/>
          </a:bodyPr>
          <a:lstStyle/>
          <a:p>
            <a:r>
              <a:rPr lang="en-US" sz="1200" dirty="0"/>
              <a:t>Source: 2017-2021 Census 5-Year ACS; Purdue Center for Regional Development</a:t>
            </a:r>
            <a:br>
              <a:rPr lang="en-US" sz="1200" dirty="0"/>
            </a:br>
            <a:r>
              <a:rPr lang="en-US" sz="1200" dirty="0"/>
              <a:t>Digital distress refers to a situation where homes rely on mobile devices only or have no computing devices as well as no internet access or rely on cellular data only.</a:t>
            </a:r>
          </a:p>
        </p:txBody>
      </p:sp>
      <p:graphicFrame>
        <p:nvGraphicFramePr>
          <p:cNvPr id="5" name="Content Placeholder 6">
            <a:extLst>
              <a:ext uri="{FF2B5EF4-FFF2-40B4-BE49-F238E27FC236}">
                <a16:creationId xmlns:a16="http://schemas.microsoft.com/office/drawing/2014/main" id="{939F4CC6-812D-53B2-A0EB-66A0555E9882}"/>
              </a:ext>
            </a:extLst>
          </p:cNvPr>
          <p:cNvGraphicFramePr>
            <a:graphicFrameLocks noGrp="1"/>
          </p:cNvGraphicFramePr>
          <p:nvPr>
            <p:ph idx="1"/>
            <p:extLst>
              <p:ext uri="{D42A27DB-BD31-4B8C-83A1-F6EECF244321}">
                <p14:modId xmlns:p14="http://schemas.microsoft.com/office/powerpoint/2010/main" val="4290813254"/>
              </p:ext>
            </p:extLst>
          </p:nvPr>
        </p:nvGraphicFramePr>
        <p:xfrm>
          <a:off x="245533" y="1028700"/>
          <a:ext cx="11671300" cy="5372100"/>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7371243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Number of 100/20 Mbps Provider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2</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3707545" y="6444476"/>
            <a:ext cx="4700710" cy="276999"/>
          </a:xfrm>
          <a:prstGeom prst="rect">
            <a:avLst/>
          </a:prstGeom>
          <a:noFill/>
        </p:spPr>
        <p:txBody>
          <a:bodyPr wrap="none" rtlCol="0">
            <a:spAutoFit/>
          </a:bodyPr>
          <a:lstStyle/>
          <a:p>
            <a:r>
              <a:rPr lang="en-US" sz="1200" dirty="0"/>
              <a:t>Source: Federal Communications Commission Form 477 December 2021</a:t>
            </a:r>
          </a:p>
        </p:txBody>
      </p:sp>
      <p:pic>
        <p:nvPicPr>
          <p:cNvPr id="7" name="Picture 6" descr="Map&#10;&#10;Description automatically generated">
            <a:extLst>
              <a:ext uri="{FF2B5EF4-FFF2-40B4-BE49-F238E27FC236}">
                <a16:creationId xmlns:a16="http://schemas.microsoft.com/office/drawing/2014/main" id="{13446D6B-D227-67D0-3073-C060BF75D5B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57200" y="1028700"/>
            <a:ext cx="11201400" cy="5391493"/>
          </a:xfrm>
          <a:prstGeom prst="rect">
            <a:avLst/>
          </a:prstGeom>
        </p:spPr>
      </p:pic>
    </p:spTree>
    <p:extLst>
      <p:ext uri="{BB962C8B-B14F-4D97-AF65-F5344CB8AC3E}">
        <p14:creationId xmlns:p14="http://schemas.microsoft.com/office/powerpoint/2010/main" val="141853353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Average Download Speeds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3</a:t>
            </a:fld>
            <a:endParaRPr lang="en-US"/>
          </a:p>
        </p:txBody>
      </p:sp>
      <p:sp>
        <p:nvSpPr>
          <p:cNvPr id="5" name="TextBox 4">
            <a:extLst>
              <a:ext uri="{FF2B5EF4-FFF2-40B4-BE49-F238E27FC236}">
                <a16:creationId xmlns:a16="http://schemas.microsoft.com/office/drawing/2014/main" id="{49866A15-B76A-3F87-511A-D93ED0BB1636}"/>
              </a:ext>
            </a:extLst>
          </p:cNvPr>
          <p:cNvSpPr txBox="1"/>
          <p:nvPr/>
        </p:nvSpPr>
        <p:spPr>
          <a:xfrm>
            <a:off x="3374197" y="6404946"/>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7" name="Picture 6" descr="Map&#10;&#10;Description automatically generated">
            <a:extLst>
              <a:ext uri="{FF2B5EF4-FFF2-40B4-BE49-F238E27FC236}">
                <a16:creationId xmlns:a16="http://schemas.microsoft.com/office/drawing/2014/main" id="{23C11C7A-A27F-BC43-1FC4-65B571B19F5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77344" y="1032846"/>
            <a:ext cx="11161111" cy="5372100"/>
          </a:xfrm>
          <a:prstGeom prst="rect">
            <a:avLst/>
          </a:prstGeom>
        </p:spPr>
      </p:pic>
    </p:spTree>
    <p:extLst>
      <p:ext uri="{BB962C8B-B14F-4D97-AF65-F5344CB8AC3E}">
        <p14:creationId xmlns:p14="http://schemas.microsoft.com/office/powerpoint/2010/main" val="153266686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Average Upload Speeds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4</a:t>
            </a:fld>
            <a:endParaRPr lang="en-US"/>
          </a:p>
        </p:txBody>
      </p:sp>
      <p:sp>
        <p:nvSpPr>
          <p:cNvPr id="5" name="TextBox 4">
            <a:extLst>
              <a:ext uri="{FF2B5EF4-FFF2-40B4-BE49-F238E27FC236}">
                <a16:creationId xmlns:a16="http://schemas.microsoft.com/office/drawing/2014/main" id="{49866A15-B76A-3F87-511A-D93ED0BB1636}"/>
              </a:ext>
            </a:extLst>
          </p:cNvPr>
          <p:cNvSpPr txBox="1"/>
          <p:nvPr/>
        </p:nvSpPr>
        <p:spPr>
          <a:xfrm>
            <a:off x="3374197" y="6404946"/>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7" name="Picture 6" descr="Map&#10;&#10;Description automatically generated">
            <a:extLst>
              <a:ext uri="{FF2B5EF4-FFF2-40B4-BE49-F238E27FC236}">
                <a16:creationId xmlns:a16="http://schemas.microsoft.com/office/drawing/2014/main" id="{C6D62B8A-CECF-DD09-E2E6-9E8C093B5C3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77344" y="1028700"/>
            <a:ext cx="11161111" cy="5372100"/>
          </a:xfrm>
          <a:prstGeom prst="rect">
            <a:avLst/>
          </a:prstGeom>
        </p:spPr>
      </p:pic>
    </p:spTree>
    <p:extLst>
      <p:ext uri="{BB962C8B-B14F-4D97-AF65-F5344CB8AC3E}">
        <p14:creationId xmlns:p14="http://schemas.microsoft.com/office/powerpoint/2010/main" val="208011082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r>
              <a:rPr lang="en-US" sz="3400" dirty="0"/>
              <a:t>Percent Population with 100/20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5</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152400" y="6405130"/>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graphicFrame>
        <p:nvGraphicFramePr>
          <p:cNvPr id="8" name="Chart 7">
            <a:extLst>
              <a:ext uri="{FF2B5EF4-FFF2-40B4-BE49-F238E27FC236}">
                <a16:creationId xmlns:a16="http://schemas.microsoft.com/office/drawing/2014/main" id="{D3B2E8D2-9CCD-964A-5CD5-9F743C3CE109}"/>
              </a:ext>
            </a:extLst>
          </p:cNvPr>
          <p:cNvGraphicFramePr/>
          <p:nvPr>
            <p:extLst>
              <p:ext uri="{D42A27DB-BD31-4B8C-83A1-F6EECF244321}">
                <p14:modId xmlns:p14="http://schemas.microsoft.com/office/powerpoint/2010/main" val="3859912059"/>
              </p:ext>
            </p:extLst>
          </p:nvPr>
        </p:nvGraphicFramePr>
        <p:xfrm>
          <a:off x="152400" y="1028700"/>
          <a:ext cx="4381500" cy="5371712"/>
        </p:xfrm>
        <a:graphic>
          <a:graphicData uri="http://schemas.openxmlformats.org/drawingml/2006/chart">
            <c:chart xmlns:c="http://schemas.openxmlformats.org/drawingml/2006/chart" xmlns:r="http://schemas.openxmlformats.org/officeDocument/2006/relationships" r:id="rId2"/>
          </a:graphicData>
        </a:graphic>
      </p:graphicFrame>
      <p:pic>
        <p:nvPicPr>
          <p:cNvPr id="7" name="Picture 6" descr="Map&#10;&#10;Description automatically generated">
            <a:extLst>
              <a:ext uri="{FF2B5EF4-FFF2-40B4-BE49-F238E27FC236}">
                <a16:creationId xmlns:a16="http://schemas.microsoft.com/office/drawing/2014/main" id="{F09832AD-496E-AE8C-D62A-74A5F0DDC1E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29219" y="1973567"/>
            <a:ext cx="7234181" cy="3481978"/>
          </a:xfrm>
          <a:prstGeom prst="rect">
            <a:avLst/>
          </a:prstGeom>
        </p:spPr>
      </p:pic>
    </p:spTree>
    <p:extLst>
      <p:ext uri="{BB962C8B-B14F-4D97-AF65-F5344CB8AC3E}">
        <p14:creationId xmlns:p14="http://schemas.microsoft.com/office/powerpoint/2010/main" val="325618263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r>
              <a:rPr lang="en-US" sz="3400" dirty="0"/>
              <a:t>Percent Population with 100/100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6</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152400" y="6405130"/>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graphicFrame>
        <p:nvGraphicFramePr>
          <p:cNvPr id="8" name="Chart 7">
            <a:extLst>
              <a:ext uri="{FF2B5EF4-FFF2-40B4-BE49-F238E27FC236}">
                <a16:creationId xmlns:a16="http://schemas.microsoft.com/office/drawing/2014/main" id="{D3B2E8D2-9CCD-964A-5CD5-9F743C3CE109}"/>
              </a:ext>
            </a:extLst>
          </p:cNvPr>
          <p:cNvGraphicFramePr/>
          <p:nvPr>
            <p:extLst>
              <p:ext uri="{D42A27DB-BD31-4B8C-83A1-F6EECF244321}">
                <p14:modId xmlns:p14="http://schemas.microsoft.com/office/powerpoint/2010/main" val="2948110043"/>
              </p:ext>
            </p:extLst>
          </p:nvPr>
        </p:nvGraphicFramePr>
        <p:xfrm>
          <a:off x="152400" y="1028700"/>
          <a:ext cx="4381500" cy="5371712"/>
        </p:xfrm>
        <a:graphic>
          <a:graphicData uri="http://schemas.openxmlformats.org/drawingml/2006/chart">
            <c:chart xmlns:c="http://schemas.openxmlformats.org/drawingml/2006/chart" xmlns:r="http://schemas.openxmlformats.org/officeDocument/2006/relationships" r:id="rId2"/>
          </a:graphicData>
        </a:graphic>
      </p:graphicFrame>
      <p:pic>
        <p:nvPicPr>
          <p:cNvPr id="7" name="Picture 6" descr="Map&#10;&#10;Description automatically generated">
            <a:extLst>
              <a:ext uri="{FF2B5EF4-FFF2-40B4-BE49-F238E27FC236}">
                <a16:creationId xmlns:a16="http://schemas.microsoft.com/office/drawing/2014/main" id="{2519EE5D-02DA-57D1-DE45-F0A4BB96554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24400" y="1967477"/>
            <a:ext cx="7239000" cy="3484298"/>
          </a:xfrm>
          <a:prstGeom prst="rect">
            <a:avLst/>
          </a:prstGeom>
        </p:spPr>
      </p:pic>
    </p:spTree>
    <p:extLst>
      <p:ext uri="{BB962C8B-B14F-4D97-AF65-F5344CB8AC3E}">
        <p14:creationId xmlns:p14="http://schemas.microsoft.com/office/powerpoint/2010/main" val="405715684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57EAAF7B-280C-3784-2092-B19FC599496E}"/>
              </a:ext>
            </a:extLst>
          </p:cNvPr>
          <p:cNvGraphicFramePr>
            <a:graphicFrameLocks noChangeAspect="1"/>
          </p:cNvGraphicFramePr>
          <p:nvPr>
            <p:custDataLst>
              <p:tags r:id="rId1"/>
            </p:custDataLst>
            <p:extLst>
              <p:ext uri="{D42A27DB-BD31-4B8C-83A1-F6EECF244321}">
                <p14:modId xmlns:p14="http://schemas.microsoft.com/office/powerpoint/2010/main" val="26148970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8" name="Object 7" hidden="1">
                        <a:extLst>
                          <a:ext uri="{FF2B5EF4-FFF2-40B4-BE49-F238E27FC236}">
                            <a16:creationId xmlns:a16="http://schemas.microsoft.com/office/drawing/2014/main" id="{57EAAF7B-280C-3784-2092-B19FC599496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7153750" cy="998008"/>
          </a:xfrm>
        </p:spPr>
        <p:txBody>
          <a:bodyPr vert="horz">
            <a:noAutofit/>
          </a:bodyPr>
          <a:lstStyle/>
          <a:p>
            <a:r>
              <a:rPr lang="en-US" sz="3400" dirty="0"/>
              <a:t>Percent Rur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7</a:t>
            </a:fld>
            <a:endParaRPr lang="en-US"/>
          </a:p>
        </p:txBody>
      </p:sp>
      <p:graphicFrame>
        <p:nvGraphicFramePr>
          <p:cNvPr id="6" name="Chart 5">
            <a:extLst>
              <a:ext uri="{FF2B5EF4-FFF2-40B4-BE49-F238E27FC236}">
                <a16:creationId xmlns:a16="http://schemas.microsoft.com/office/drawing/2014/main" id="{CE45C3AF-C253-DC6A-54C2-FE3F8F710345}"/>
              </a:ext>
            </a:extLst>
          </p:cNvPr>
          <p:cNvGraphicFramePr/>
          <p:nvPr>
            <p:extLst>
              <p:ext uri="{D42A27DB-BD31-4B8C-83A1-F6EECF244321}">
                <p14:modId xmlns:p14="http://schemas.microsoft.com/office/powerpoint/2010/main" val="1157189421"/>
              </p:ext>
            </p:extLst>
          </p:nvPr>
        </p:nvGraphicFramePr>
        <p:xfrm>
          <a:off x="152400" y="1028700"/>
          <a:ext cx="4381500" cy="5371712"/>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AF651823-818E-912D-E331-CDEB914505A8}"/>
              </a:ext>
            </a:extLst>
          </p:cNvPr>
          <p:cNvSpPr txBox="1"/>
          <p:nvPr/>
        </p:nvSpPr>
        <p:spPr>
          <a:xfrm>
            <a:off x="245533" y="6400412"/>
            <a:ext cx="4186787" cy="461665"/>
          </a:xfrm>
          <a:prstGeom prst="rect">
            <a:avLst/>
          </a:prstGeom>
          <a:noFill/>
        </p:spPr>
        <p:txBody>
          <a:bodyPr wrap="none" rtlCol="0">
            <a:spAutoFit/>
          </a:bodyPr>
          <a:lstStyle/>
          <a:p>
            <a:r>
              <a:rPr lang="en-US" sz="1200" dirty="0"/>
              <a:t>Source: 2017-2021 Census 5-Year ACS</a:t>
            </a:r>
          </a:p>
          <a:p>
            <a:r>
              <a:rPr lang="en-US" sz="1200" dirty="0"/>
              <a:t>*Preliminary figures based on 425 housing units </a:t>
            </a:r>
            <a:r>
              <a:rPr lang="en-US" sz="1200"/>
              <a:t>per square mile</a:t>
            </a:r>
            <a:endParaRPr lang="en-US" sz="1200" dirty="0"/>
          </a:p>
        </p:txBody>
      </p:sp>
      <p:pic>
        <p:nvPicPr>
          <p:cNvPr id="9" name="Picture 8" descr="Map&#10;&#10;Description automatically generated">
            <a:extLst>
              <a:ext uri="{FF2B5EF4-FFF2-40B4-BE49-F238E27FC236}">
                <a16:creationId xmlns:a16="http://schemas.microsoft.com/office/drawing/2014/main" id="{F667296C-CE90-A32A-0DB5-4437FD48B6AB}"/>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724400" y="1976144"/>
            <a:ext cx="7239000" cy="3484298"/>
          </a:xfrm>
          <a:prstGeom prst="rect">
            <a:avLst/>
          </a:prstGeom>
        </p:spPr>
      </p:pic>
    </p:spTree>
    <p:extLst>
      <p:ext uri="{BB962C8B-B14F-4D97-AF65-F5344CB8AC3E}">
        <p14:creationId xmlns:p14="http://schemas.microsoft.com/office/powerpoint/2010/main" val="332451968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0925908" cy="998008"/>
          </a:xfrm>
        </p:spPr>
        <p:txBody>
          <a:bodyPr>
            <a:noAutofit/>
          </a:bodyPr>
          <a:lstStyle/>
          <a:p>
            <a:r>
              <a:rPr lang="en-US" sz="3400" dirty="0"/>
              <a:t>Percent Non-Institutionalized Population, Disabil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8</a:t>
            </a:fld>
            <a:endParaRPr lang="en-US"/>
          </a:p>
        </p:txBody>
      </p:sp>
      <p:graphicFrame>
        <p:nvGraphicFramePr>
          <p:cNvPr id="6" name="Chart 5">
            <a:extLst>
              <a:ext uri="{FF2B5EF4-FFF2-40B4-BE49-F238E27FC236}">
                <a16:creationId xmlns:a16="http://schemas.microsoft.com/office/drawing/2014/main" id="{CE45C3AF-C253-DC6A-54C2-FE3F8F710345}"/>
              </a:ext>
            </a:extLst>
          </p:cNvPr>
          <p:cNvGraphicFramePr/>
          <p:nvPr>
            <p:extLst>
              <p:ext uri="{D42A27DB-BD31-4B8C-83A1-F6EECF244321}">
                <p14:modId xmlns:p14="http://schemas.microsoft.com/office/powerpoint/2010/main" val="3136399462"/>
              </p:ext>
            </p:extLst>
          </p:nvPr>
        </p:nvGraphicFramePr>
        <p:xfrm>
          <a:off x="152400" y="1028700"/>
          <a:ext cx="4381500" cy="5371712"/>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a:extLst>
              <a:ext uri="{FF2B5EF4-FFF2-40B4-BE49-F238E27FC236}">
                <a16:creationId xmlns:a16="http://schemas.microsoft.com/office/drawing/2014/main" id="{51811D46-3545-CBB8-9C35-BAFF095496AA}"/>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pic>
        <p:nvPicPr>
          <p:cNvPr id="8" name="Picture 7" descr="A picture containing schematic&#10;&#10;Description automatically generated">
            <a:extLst>
              <a:ext uri="{FF2B5EF4-FFF2-40B4-BE49-F238E27FC236}">
                <a16:creationId xmlns:a16="http://schemas.microsoft.com/office/drawing/2014/main" id="{6FE83F36-0238-364D-DA5E-68C3B59F55E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24400" y="1972893"/>
            <a:ext cx="7239000" cy="3484298"/>
          </a:xfrm>
          <a:prstGeom prst="rect">
            <a:avLst/>
          </a:prstGeom>
        </p:spPr>
      </p:pic>
    </p:spTree>
    <p:extLst>
      <p:ext uri="{BB962C8B-B14F-4D97-AF65-F5344CB8AC3E}">
        <p14:creationId xmlns:p14="http://schemas.microsoft.com/office/powerpoint/2010/main" val="212484871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7153750" cy="998008"/>
          </a:xfrm>
        </p:spPr>
        <p:txBody>
          <a:bodyPr>
            <a:noAutofit/>
          </a:bodyPr>
          <a:lstStyle/>
          <a:p>
            <a:r>
              <a:rPr lang="en-US" sz="3400" dirty="0"/>
              <a:t>Percent Population 18 or older, Veteran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9</a:t>
            </a:fld>
            <a:endParaRPr lang="en-US"/>
          </a:p>
        </p:txBody>
      </p:sp>
      <p:graphicFrame>
        <p:nvGraphicFramePr>
          <p:cNvPr id="6" name="Chart 5">
            <a:extLst>
              <a:ext uri="{FF2B5EF4-FFF2-40B4-BE49-F238E27FC236}">
                <a16:creationId xmlns:a16="http://schemas.microsoft.com/office/drawing/2014/main" id="{CE45C3AF-C253-DC6A-54C2-FE3F8F710345}"/>
              </a:ext>
            </a:extLst>
          </p:cNvPr>
          <p:cNvGraphicFramePr/>
          <p:nvPr>
            <p:extLst>
              <p:ext uri="{D42A27DB-BD31-4B8C-83A1-F6EECF244321}">
                <p14:modId xmlns:p14="http://schemas.microsoft.com/office/powerpoint/2010/main" val="3130340291"/>
              </p:ext>
            </p:extLst>
          </p:nvPr>
        </p:nvGraphicFramePr>
        <p:xfrm>
          <a:off x="152400" y="1028700"/>
          <a:ext cx="4381500" cy="5371712"/>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a:extLst>
              <a:ext uri="{FF2B5EF4-FFF2-40B4-BE49-F238E27FC236}">
                <a16:creationId xmlns:a16="http://schemas.microsoft.com/office/drawing/2014/main" id="{51811D46-3545-CBB8-9C35-BAFF095496AA}"/>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pic>
        <p:nvPicPr>
          <p:cNvPr id="8" name="Picture 7" descr="A picture containing map&#10;&#10;Description automatically generated">
            <a:extLst>
              <a:ext uri="{FF2B5EF4-FFF2-40B4-BE49-F238E27FC236}">
                <a16:creationId xmlns:a16="http://schemas.microsoft.com/office/drawing/2014/main" id="{F85F44A3-4E14-75E8-18F9-65F0771F513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24400" y="1972407"/>
            <a:ext cx="7239000" cy="3484298"/>
          </a:xfrm>
          <a:prstGeom prst="rect">
            <a:avLst/>
          </a:prstGeom>
        </p:spPr>
      </p:pic>
    </p:spTree>
    <p:extLst>
      <p:ext uri="{BB962C8B-B14F-4D97-AF65-F5344CB8AC3E}">
        <p14:creationId xmlns:p14="http://schemas.microsoft.com/office/powerpoint/2010/main" val="202817552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136525"/>
            <a:ext cx="11671300" cy="998008"/>
          </a:xfrm>
        </p:spPr>
        <p:txBody>
          <a:bodyPr>
            <a:normAutofit/>
          </a:bodyPr>
          <a:lstStyle/>
          <a:p>
            <a:r>
              <a:rPr lang="en-US" sz="3400" dirty="0"/>
              <a:t>Background &amp; Methodolog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a:t>
            </a:fld>
            <a:endParaRPr lang="en-US" dirty="0"/>
          </a:p>
        </p:txBody>
      </p:sp>
      <p:sp>
        <p:nvSpPr>
          <p:cNvPr id="5" name="Content Placeholder 4">
            <a:extLst>
              <a:ext uri="{FF2B5EF4-FFF2-40B4-BE49-F238E27FC236}">
                <a16:creationId xmlns:a16="http://schemas.microsoft.com/office/drawing/2014/main" id="{6AE302AC-8931-4144-BE52-DD1A8BA82462}"/>
              </a:ext>
            </a:extLst>
          </p:cNvPr>
          <p:cNvSpPr>
            <a:spLocks noGrp="1"/>
          </p:cNvSpPr>
          <p:nvPr>
            <p:ph idx="1"/>
          </p:nvPr>
        </p:nvSpPr>
        <p:spPr>
          <a:xfrm>
            <a:off x="215898" y="1028700"/>
            <a:ext cx="5727884" cy="5453392"/>
          </a:xfrm>
        </p:spPr>
        <p:txBody>
          <a:bodyPr>
            <a:normAutofit lnSpcReduction="10000"/>
          </a:bodyPr>
          <a:lstStyle/>
          <a:p>
            <a:pPr marL="0" indent="0">
              <a:buNone/>
            </a:pPr>
            <a:r>
              <a:rPr lang="en-US" sz="1400" dirty="0"/>
              <a:t>The objective of this digital inclusion profile is to provide communities an overall understanding of their digital landscape. While this landscape is not meant to be comprehensive, it does utilize multiple sources including the U.S. Census, Bureau of Economic Analysis, Lightcast (formerly known as Economic Modeling Specialists or EMSI), and the author’s regional development and digital inclusion expertise. 2021 Census tracts as well as county-level data were utilized. Most variables were divided into three equal groups (same number of Census tracts per group) </a:t>
            </a:r>
            <a:r>
              <a:rPr lang="en-US" sz="1400" b="1" dirty="0"/>
              <a:t>based on all tracts in the state</a:t>
            </a:r>
            <a:r>
              <a:rPr lang="en-US" sz="1400" dirty="0"/>
              <a:t>: low (lighter color, moderate, and high (darker color).</a:t>
            </a:r>
          </a:p>
          <a:p>
            <a:pPr marL="0" indent="0">
              <a:buNone/>
            </a:pPr>
            <a:r>
              <a:rPr lang="en-US" sz="1400" dirty="0"/>
              <a:t>The profile should be interpreted along three main sections. The first section (slides 3-11) provides socioeconomic and specific internet and device information under which digital inclusion is taking place. These are important to keep in mind as research shows that these characteristics impact technology adoption and use.</a:t>
            </a:r>
          </a:p>
          <a:p>
            <a:pPr marL="0" indent="0">
              <a:buNone/>
            </a:pPr>
            <a:r>
              <a:rPr lang="en-US" sz="1400" dirty="0"/>
              <a:t>The second section focuses on broadband availability (slides 12-16) including number of 100/20 megabits per second (Mbps) providers, percent population with 100/20 Mbps and 100/100 Mbps, and average download and upload speeds in Mbps. </a:t>
            </a:r>
          </a:p>
          <a:p>
            <a:pPr marL="0" indent="0">
              <a:buNone/>
            </a:pPr>
            <a:r>
              <a:rPr lang="en-US" sz="1400" dirty="0"/>
              <a:t>The third section (slides 17-30) includes covered population characteristics as specified in the Digital Equity Act. The objective is to identify “hotspots” in the community with an above average share of individuals or homes with these characteristics. </a:t>
            </a:r>
          </a:p>
          <a:p>
            <a:pPr marL="0" indent="0">
              <a:buNone/>
            </a:pPr>
            <a:r>
              <a:rPr lang="en-US" sz="1400" dirty="0"/>
              <a:t>The last section (slides 31-35) include variables that should improve as the community becomes more digitally inclusive over time with a focus on workforce and economic development. However, as efforts are underway, metrics included in section 2 should also improve over time. </a:t>
            </a:r>
          </a:p>
          <a:p>
            <a:pPr marL="0" indent="0">
              <a:buNone/>
            </a:pPr>
            <a:endParaRPr lang="en-US" sz="1400" dirty="0"/>
          </a:p>
        </p:txBody>
      </p:sp>
      <p:sp>
        <p:nvSpPr>
          <p:cNvPr id="9" name="Content Placeholder 4">
            <a:extLst>
              <a:ext uri="{FF2B5EF4-FFF2-40B4-BE49-F238E27FC236}">
                <a16:creationId xmlns:a16="http://schemas.microsoft.com/office/drawing/2014/main" id="{E362A98F-7DCD-C67C-23CE-1BE182A133B4}"/>
              </a:ext>
            </a:extLst>
          </p:cNvPr>
          <p:cNvSpPr txBox="1">
            <a:spLocks/>
          </p:cNvSpPr>
          <p:nvPr/>
        </p:nvSpPr>
        <p:spPr>
          <a:xfrm>
            <a:off x="6096000" y="1028699"/>
            <a:ext cx="5850468" cy="5372101"/>
          </a:xfrm>
          <a:prstGeom prst="rect">
            <a:avLst/>
          </a:prstGeom>
        </p:spPr>
        <p:txBody>
          <a:bodyPr vert="horz" lIns="91440" tIns="45720" rIns="91440" bIns="45720"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dirty="0"/>
              <a:t>Four innovative metrics developed by the author are included to help “summarize” this complex issue.</a:t>
            </a:r>
          </a:p>
          <a:p>
            <a:pPr marL="0" indent="0">
              <a:buNone/>
            </a:pPr>
            <a:r>
              <a:rPr lang="en-US" sz="1400" dirty="0"/>
              <a:t>The first variable is called the Internet Income Ratio or IIR (slide 28). A higher IIR denotes a higher inequality based on internet access and income. The IIR is the share of homes making less than $35k with no internet divided by the share of homes making $75k with no internet. An IIR of 2 means the share of lower income homes with no internet is 2x higher than the wealthier homes.</a:t>
            </a:r>
          </a:p>
          <a:p>
            <a:pPr marL="0" indent="0">
              <a:buFont typeface="Arial" panose="020B0604020202020204" pitchFamily="34" charset="0"/>
              <a:buNone/>
            </a:pPr>
            <a:r>
              <a:rPr lang="en-US" sz="1400" dirty="0"/>
              <a:t>The second is digital distress (slides 11 &amp; 29). Digital distress refers to an area with an above average share of homes with no internet access or relying only on cellular data as well as homes with no computing devices or relying only on mobile devices. The share of homes for the county, region, state, and nation in high digital distress was included as a point of reference. The map should help identify these “hotspots” (darker color). </a:t>
            </a:r>
          </a:p>
          <a:p>
            <a:pPr marL="0" indent="0">
              <a:buFont typeface="Arial" panose="020B0604020202020204" pitchFamily="34" charset="0"/>
              <a:buNone/>
            </a:pPr>
            <a:r>
              <a:rPr lang="en-US" sz="1400" dirty="0"/>
              <a:t>The third innovative metric is the digital divide index or DDI (slide 30). The DDI consists of three scores: infrastructure/adoption, socioeconomic, and the overall digital divide index. For simplicity purposes, only the overall DDI was included in this profile. The higher the score, the larger the divide. The share of homes in tracts with the highest digital divide index score was included as well as a map identifying digital divide index “hotspots” (darker color).</a:t>
            </a:r>
          </a:p>
          <a:p>
            <a:pPr marL="0" indent="0">
              <a:buFont typeface="Arial" panose="020B0604020202020204" pitchFamily="34" charset="0"/>
              <a:buNone/>
            </a:pPr>
            <a:r>
              <a:rPr lang="en-US" sz="1400" dirty="0"/>
              <a:t>The fourth metric refers to the remote work potential (slide 30). This metric is still being researched to tease out its specific implications, but the idea is simple; the more digital inclusive a community, the lower the difference between remote work friendly occupations in the community and the share of those working from home.  </a:t>
            </a:r>
          </a:p>
          <a:p>
            <a:pPr marL="0" indent="0">
              <a:buFont typeface="Arial" panose="020B0604020202020204" pitchFamily="34" charset="0"/>
              <a:buNone/>
            </a:pPr>
            <a:r>
              <a:rPr lang="en-US" sz="1400" dirty="0"/>
              <a:t>Once these digital inequalities are addressed, the idea is that the community’s overall quality of place, economic, and workforce development situation will improve. </a:t>
            </a:r>
          </a:p>
        </p:txBody>
      </p:sp>
    </p:spTree>
    <p:extLst>
      <p:ext uri="{BB962C8B-B14F-4D97-AF65-F5344CB8AC3E}">
        <p14:creationId xmlns:p14="http://schemas.microsoft.com/office/powerpoint/2010/main" val="151542368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Population Minorities (all but White, non-Hispanic)</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0</a:t>
            </a:fld>
            <a:endParaRPr lang="en-US"/>
          </a:p>
        </p:txBody>
      </p:sp>
      <p:graphicFrame>
        <p:nvGraphicFramePr>
          <p:cNvPr id="6" name="Chart 5">
            <a:extLst>
              <a:ext uri="{FF2B5EF4-FFF2-40B4-BE49-F238E27FC236}">
                <a16:creationId xmlns:a16="http://schemas.microsoft.com/office/drawing/2014/main" id="{CE45C3AF-C253-DC6A-54C2-FE3F8F710345}"/>
              </a:ext>
            </a:extLst>
          </p:cNvPr>
          <p:cNvGraphicFramePr/>
          <p:nvPr>
            <p:extLst>
              <p:ext uri="{D42A27DB-BD31-4B8C-83A1-F6EECF244321}">
                <p14:modId xmlns:p14="http://schemas.microsoft.com/office/powerpoint/2010/main" val="4047601239"/>
              </p:ext>
            </p:extLst>
          </p:nvPr>
        </p:nvGraphicFramePr>
        <p:xfrm>
          <a:off x="152400" y="1028700"/>
          <a:ext cx="4381500" cy="5371712"/>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a:extLst>
              <a:ext uri="{FF2B5EF4-FFF2-40B4-BE49-F238E27FC236}">
                <a16:creationId xmlns:a16="http://schemas.microsoft.com/office/drawing/2014/main" id="{51811D46-3545-CBB8-9C35-BAFF095496AA}"/>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pic>
        <p:nvPicPr>
          <p:cNvPr id="8" name="Picture 7" descr="Map&#10;&#10;Description automatically generated">
            <a:extLst>
              <a:ext uri="{FF2B5EF4-FFF2-40B4-BE49-F238E27FC236}">
                <a16:creationId xmlns:a16="http://schemas.microsoft.com/office/drawing/2014/main" id="{23477BA7-CFA0-43E1-FAEB-910B043C6AE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31012" y="1970262"/>
            <a:ext cx="7247912" cy="3488587"/>
          </a:xfrm>
          <a:prstGeom prst="rect">
            <a:avLst/>
          </a:prstGeom>
        </p:spPr>
      </p:pic>
    </p:spTree>
    <p:extLst>
      <p:ext uri="{BB962C8B-B14F-4D97-AF65-F5344CB8AC3E}">
        <p14:creationId xmlns:p14="http://schemas.microsoft.com/office/powerpoint/2010/main" val="132651774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Individual Poverty Rat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1</a:t>
            </a:fld>
            <a:endParaRPr lang="en-US"/>
          </a:p>
        </p:txBody>
      </p:sp>
      <p:graphicFrame>
        <p:nvGraphicFramePr>
          <p:cNvPr id="6" name="Chart 5">
            <a:extLst>
              <a:ext uri="{FF2B5EF4-FFF2-40B4-BE49-F238E27FC236}">
                <a16:creationId xmlns:a16="http://schemas.microsoft.com/office/drawing/2014/main" id="{CE45C3AF-C253-DC6A-54C2-FE3F8F710345}"/>
              </a:ext>
            </a:extLst>
          </p:cNvPr>
          <p:cNvGraphicFramePr/>
          <p:nvPr>
            <p:extLst>
              <p:ext uri="{D42A27DB-BD31-4B8C-83A1-F6EECF244321}">
                <p14:modId xmlns:p14="http://schemas.microsoft.com/office/powerpoint/2010/main" val="3325502299"/>
              </p:ext>
            </p:extLst>
          </p:nvPr>
        </p:nvGraphicFramePr>
        <p:xfrm>
          <a:off x="152400" y="1028700"/>
          <a:ext cx="4381500" cy="5371712"/>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a:extLst>
              <a:ext uri="{FF2B5EF4-FFF2-40B4-BE49-F238E27FC236}">
                <a16:creationId xmlns:a16="http://schemas.microsoft.com/office/drawing/2014/main" id="{51811D46-3545-CBB8-9C35-BAFF095496AA}"/>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pic>
        <p:nvPicPr>
          <p:cNvPr id="8" name="Picture 7" descr="Map&#10;&#10;Description automatically generated with low confidence">
            <a:extLst>
              <a:ext uri="{FF2B5EF4-FFF2-40B4-BE49-F238E27FC236}">
                <a16:creationId xmlns:a16="http://schemas.microsoft.com/office/drawing/2014/main" id="{DECEEA7B-DF84-CA47-9B3A-40DE9DB0FDF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29030" y="1970262"/>
            <a:ext cx="7247914" cy="3488588"/>
          </a:xfrm>
          <a:prstGeom prst="rect">
            <a:avLst/>
          </a:prstGeom>
        </p:spPr>
      </p:pic>
    </p:spTree>
    <p:extLst>
      <p:ext uri="{BB962C8B-B14F-4D97-AF65-F5344CB8AC3E}">
        <p14:creationId xmlns:p14="http://schemas.microsoft.com/office/powerpoint/2010/main" val="78373925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a Person Aged 60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2</a:t>
            </a:fld>
            <a:endParaRPr lang="en-US"/>
          </a:p>
        </p:txBody>
      </p:sp>
      <p:graphicFrame>
        <p:nvGraphicFramePr>
          <p:cNvPr id="6" name="Chart 5">
            <a:extLst>
              <a:ext uri="{FF2B5EF4-FFF2-40B4-BE49-F238E27FC236}">
                <a16:creationId xmlns:a16="http://schemas.microsoft.com/office/drawing/2014/main" id="{CE45C3AF-C253-DC6A-54C2-FE3F8F710345}"/>
              </a:ext>
            </a:extLst>
          </p:cNvPr>
          <p:cNvGraphicFramePr/>
          <p:nvPr>
            <p:extLst>
              <p:ext uri="{D42A27DB-BD31-4B8C-83A1-F6EECF244321}">
                <p14:modId xmlns:p14="http://schemas.microsoft.com/office/powerpoint/2010/main" val="2277277521"/>
              </p:ext>
            </p:extLst>
          </p:nvPr>
        </p:nvGraphicFramePr>
        <p:xfrm>
          <a:off x="152400" y="1028700"/>
          <a:ext cx="4381500" cy="5371712"/>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a:extLst>
              <a:ext uri="{FF2B5EF4-FFF2-40B4-BE49-F238E27FC236}">
                <a16:creationId xmlns:a16="http://schemas.microsoft.com/office/drawing/2014/main" id="{51811D46-3545-CBB8-9C35-BAFF095496AA}"/>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pic>
        <p:nvPicPr>
          <p:cNvPr id="8" name="Picture 7" descr="A picture containing map&#10;&#10;Description automatically generated">
            <a:extLst>
              <a:ext uri="{FF2B5EF4-FFF2-40B4-BE49-F238E27FC236}">
                <a16:creationId xmlns:a16="http://schemas.microsoft.com/office/drawing/2014/main" id="{79CF5662-6CF8-0218-2CD4-73865E052C8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24400" y="1972407"/>
            <a:ext cx="7239000" cy="3484298"/>
          </a:xfrm>
          <a:prstGeom prst="rect">
            <a:avLst/>
          </a:prstGeom>
        </p:spPr>
      </p:pic>
    </p:spTree>
    <p:extLst>
      <p:ext uri="{BB962C8B-B14F-4D97-AF65-F5344CB8AC3E}">
        <p14:creationId xmlns:p14="http://schemas.microsoft.com/office/powerpoint/2010/main" val="167612223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Childre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3</a:t>
            </a:fld>
            <a:endParaRPr lang="en-US"/>
          </a:p>
        </p:txBody>
      </p:sp>
      <p:graphicFrame>
        <p:nvGraphicFramePr>
          <p:cNvPr id="6" name="Chart 5">
            <a:extLst>
              <a:ext uri="{FF2B5EF4-FFF2-40B4-BE49-F238E27FC236}">
                <a16:creationId xmlns:a16="http://schemas.microsoft.com/office/drawing/2014/main" id="{CE45C3AF-C253-DC6A-54C2-FE3F8F710345}"/>
              </a:ext>
            </a:extLst>
          </p:cNvPr>
          <p:cNvGraphicFramePr/>
          <p:nvPr>
            <p:extLst>
              <p:ext uri="{D42A27DB-BD31-4B8C-83A1-F6EECF244321}">
                <p14:modId xmlns:p14="http://schemas.microsoft.com/office/powerpoint/2010/main" val="1804172930"/>
              </p:ext>
            </p:extLst>
          </p:nvPr>
        </p:nvGraphicFramePr>
        <p:xfrm>
          <a:off x="152400" y="1028700"/>
          <a:ext cx="4381500" cy="5371712"/>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a:extLst>
              <a:ext uri="{FF2B5EF4-FFF2-40B4-BE49-F238E27FC236}">
                <a16:creationId xmlns:a16="http://schemas.microsoft.com/office/drawing/2014/main" id="{51811D46-3545-CBB8-9C35-BAFF095496AA}"/>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pic>
        <p:nvPicPr>
          <p:cNvPr id="8" name="Picture 7" descr="Map&#10;&#10;Description automatically generated">
            <a:extLst>
              <a:ext uri="{FF2B5EF4-FFF2-40B4-BE49-F238E27FC236}">
                <a16:creationId xmlns:a16="http://schemas.microsoft.com/office/drawing/2014/main" id="{11CDF7D3-ABB8-4BDF-CEE1-5F5A6018AA0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24400" y="1972178"/>
            <a:ext cx="7239952" cy="3484756"/>
          </a:xfrm>
          <a:prstGeom prst="rect">
            <a:avLst/>
          </a:prstGeom>
        </p:spPr>
      </p:pic>
    </p:spTree>
    <p:extLst>
      <p:ext uri="{BB962C8B-B14F-4D97-AF65-F5344CB8AC3E}">
        <p14:creationId xmlns:p14="http://schemas.microsoft.com/office/powerpoint/2010/main" val="310039875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Limited English Proficienc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4</a:t>
            </a:fld>
            <a:endParaRPr lang="en-US"/>
          </a:p>
        </p:txBody>
      </p:sp>
      <p:graphicFrame>
        <p:nvGraphicFramePr>
          <p:cNvPr id="6" name="Chart 5">
            <a:extLst>
              <a:ext uri="{FF2B5EF4-FFF2-40B4-BE49-F238E27FC236}">
                <a16:creationId xmlns:a16="http://schemas.microsoft.com/office/drawing/2014/main" id="{CE45C3AF-C253-DC6A-54C2-FE3F8F710345}"/>
              </a:ext>
            </a:extLst>
          </p:cNvPr>
          <p:cNvGraphicFramePr/>
          <p:nvPr>
            <p:extLst>
              <p:ext uri="{D42A27DB-BD31-4B8C-83A1-F6EECF244321}">
                <p14:modId xmlns:p14="http://schemas.microsoft.com/office/powerpoint/2010/main" val="2049107149"/>
              </p:ext>
            </p:extLst>
          </p:nvPr>
        </p:nvGraphicFramePr>
        <p:xfrm>
          <a:off x="152400" y="1028700"/>
          <a:ext cx="4381500" cy="5371712"/>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a:extLst>
              <a:ext uri="{FF2B5EF4-FFF2-40B4-BE49-F238E27FC236}">
                <a16:creationId xmlns:a16="http://schemas.microsoft.com/office/drawing/2014/main" id="{51811D46-3545-CBB8-9C35-BAFF095496AA}"/>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pic>
        <p:nvPicPr>
          <p:cNvPr id="8" name="Picture 7" descr="Map&#10;&#10;Description automatically generated">
            <a:extLst>
              <a:ext uri="{FF2B5EF4-FFF2-40B4-BE49-F238E27FC236}">
                <a16:creationId xmlns:a16="http://schemas.microsoft.com/office/drawing/2014/main" id="{D496B6AD-F9CA-902D-7B35-1CA19243B5F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24400" y="1972407"/>
            <a:ext cx="7239000" cy="3484298"/>
          </a:xfrm>
          <a:prstGeom prst="rect">
            <a:avLst/>
          </a:prstGeom>
        </p:spPr>
      </p:pic>
    </p:spTree>
    <p:extLst>
      <p:ext uri="{BB962C8B-B14F-4D97-AF65-F5344CB8AC3E}">
        <p14:creationId xmlns:p14="http://schemas.microsoft.com/office/powerpoint/2010/main" val="154647542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Foreign Bor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5</a:t>
            </a:fld>
            <a:endParaRPr lang="en-US"/>
          </a:p>
        </p:txBody>
      </p:sp>
      <p:graphicFrame>
        <p:nvGraphicFramePr>
          <p:cNvPr id="6" name="Chart 5">
            <a:extLst>
              <a:ext uri="{FF2B5EF4-FFF2-40B4-BE49-F238E27FC236}">
                <a16:creationId xmlns:a16="http://schemas.microsoft.com/office/drawing/2014/main" id="{CE45C3AF-C253-DC6A-54C2-FE3F8F710345}"/>
              </a:ext>
            </a:extLst>
          </p:cNvPr>
          <p:cNvGraphicFramePr/>
          <p:nvPr>
            <p:extLst>
              <p:ext uri="{D42A27DB-BD31-4B8C-83A1-F6EECF244321}">
                <p14:modId xmlns:p14="http://schemas.microsoft.com/office/powerpoint/2010/main" val="712713775"/>
              </p:ext>
            </p:extLst>
          </p:nvPr>
        </p:nvGraphicFramePr>
        <p:xfrm>
          <a:off x="152400" y="1028700"/>
          <a:ext cx="4381500" cy="5371712"/>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a:extLst>
              <a:ext uri="{FF2B5EF4-FFF2-40B4-BE49-F238E27FC236}">
                <a16:creationId xmlns:a16="http://schemas.microsoft.com/office/drawing/2014/main" id="{51811D46-3545-CBB8-9C35-BAFF095496AA}"/>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pic>
        <p:nvPicPr>
          <p:cNvPr id="8" name="Picture 7" descr="Map&#10;&#10;Description automatically generated">
            <a:extLst>
              <a:ext uri="{FF2B5EF4-FFF2-40B4-BE49-F238E27FC236}">
                <a16:creationId xmlns:a16="http://schemas.microsoft.com/office/drawing/2014/main" id="{7B55554B-BEA1-B9A3-98B0-CE6F334DE44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24400" y="1972407"/>
            <a:ext cx="7239000" cy="3484297"/>
          </a:xfrm>
          <a:prstGeom prst="rect">
            <a:avLst/>
          </a:prstGeom>
        </p:spPr>
      </p:pic>
    </p:spTree>
    <p:extLst>
      <p:ext uri="{BB962C8B-B14F-4D97-AF65-F5344CB8AC3E}">
        <p14:creationId xmlns:p14="http://schemas.microsoft.com/office/powerpoint/2010/main" val="125985672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Homework Gap: Percent Children with Computer, No Internet</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6</a:t>
            </a:fld>
            <a:endParaRPr lang="en-US"/>
          </a:p>
        </p:txBody>
      </p:sp>
      <p:graphicFrame>
        <p:nvGraphicFramePr>
          <p:cNvPr id="6" name="Chart 5">
            <a:extLst>
              <a:ext uri="{FF2B5EF4-FFF2-40B4-BE49-F238E27FC236}">
                <a16:creationId xmlns:a16="http://schemas.microsoft.com/office/drawing/2014/main" id="{CE45C3AF-C253-DC6A-54C2-FE3F8F710345}"/>
              </a:ext>
            </a:extLst>
          </p:cNvPr>
          <p:cNvGraphicFramePr/>
          <p:nvPr>
            <p:extLst>
              <p:ext uri="{D42A27DB-BD31-4B8C-83A1-F6EECF244321}">
                <p14:modId xmlns:p14="http://schemas.microsoft.com/office/powerpoint/2010/main" val="1885860900"/>
              </p:ext>
            </p:extLst>
          </p:nvPr>
        </p:nvGraphicFramePr>
        <p:xfrm>
          <a:off x="152400" y="1028700"/>
          <a:ext cx="4381500" cy="5371712"/>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a:extLst>
              <a:ext uri="{FF2B5EF4-FFF2-40B4-BE49-F238E27FC236}">
                <a16:creationId xmlns:a16="http://schemas.microsoft.com/office/drawing/2014/main" id="{51811D46-3545-CBB8-9C35-BAFF095496AA}"/>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pic>
        <p:nvPicPr>
          <p:cNvPr id="8" name="Picture 7" descr="Map&#10;&#10;Description automatically generated">
            <a:extLst>
              <a:ext uri="{FF2B5EF4-FFF2-40B4-BE49-F238E27FC236}">
                <a16:creationId xmlns:a16="http://schemas.microsoft.com/office/drawing/2014/main" id="{CA78C345-9753-28B4-694D-B9F90B1A2F3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24400" y="1972407"/>
            <a:ext cx="7239000" cy="3484298"/>
          </a:xfrm>
          <a:prstGeom prst="rect">
            <a:avLst/>
          </a:prstGeom>
        </p:spPr>
      </p:pic>
    </p:spTree>
    <p:extLst>
      <p:ext uri="{BB962C8B-B14F-4D97-AF65-F5344CB8AC3E}">
        <p14:creationId xmlns:p14="http://schemas.microsoft.com/office/powerpoint/2010/main" val="138051730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Senior Gap: Percent Seniors (Age 65 or older) with No Comput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7</a:t>
            </a:fld>
            <a:endParaRPr lang="en-US"/>
          </a:p>
        </p:txBody>
      </p:sp>
      <p:graphicFrame>
        <p:nvGraphicFramePr>
          <p:cNvPr id="6" name="Chart 5">
            <a:extLst>
              <a:ext uri="{FF2B5EF4-FFF2-40B4-BE49-F238E27FC236}">
                <a16:creationId xmlns:a16="http://schemas.microsoft.com/office/drawing/2014/main" id="{CE45C3AF-C253-DC6A-54C2-FE3F8F710345}"/>
              </a:ext>
            </a:extLst>
          </p:cNvPr>
          <p:cNvGraphicFramePr/>
          <p:nvPr>
            <p:extLst>
              <p:ext uri="{D42A27DB-BD31-4B8C-83A1-F6EECF244321}">
                <p14:modId xmlns:p14="http://schemas.microsoft.com/office/powerpoint/2010/main" val="1798462157"/>
              </p:ext>
            </p:extLst>
          </p:nvPr>
        </p:nvGraphicFramePr>
        <p:xfrm>
          <a:off x="152400" y="1028700"/>
          <a:ext cx="4381500" cy="5371712"/>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a:extLst>
              <a:ext uri="{FF2B5EF4-FFF2-40B4-BE49-F238E27FC236}">
                <a16:creationId xmlns:a16="http://schemas.microsoft.com/office/drawing/2014/main" id="{51811D46-3545-CBB8-9C35-BAFF095496AA}"/>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pic>
        <p:nvPicPr>
          <p:cNvPr id="8" name="Picture 7" descr="A picture containing map&#10;&#10;Description automatically generated">
            <a:extLst>
              <a:ext uri="{FF2B5EF4-FFF2-40B4-BE49-F238E27FC236}">
                <a16:creationId xmlns:a16="http://schemas.microsoft.com/office/drawing/2014/main" id="{DE06FEA7-B05D-E196-0589-B7E826D284C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24400" y="1971812"/>
            <a:ext cx="7239000" cy="3484298"/>
          </a:xfrm>
          <a:prstGeom prst="rect">
            <a:avLst/>
          </a:prstGeom>
        </p:spPr>
      </p:pic>
    </p:spTree>
    <p:extLst>
      <p:ext uri="{BB962C8B-B14F-4D97-AF65-F5344CB8AC3E}">
        <p14:creationId xmlns:p14="http://schemas.microsoft.com/office/powerpoint/2010/main" val="138867115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Internet Income Ratio (II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8</a:t>
            </a:fld>
            <a:endParaRPr lang="en-US"/>
          </a:p>
        </p:txBody>
      </p:sp>
      <p:graphicFrame>
        <p:nvGraphicFramePr>
          <p:cNvPr id="6" name="Chart 5">
            <a:extLst>
              <a:ext uri="{FF2B5EF4-FFF2-40B4-BE49-F238E27FC236}">
                <a16:creationId xmlns:a16="http://schemas.microsoft.com/office/drawing/2014/main" id="{CE45C3AF-C253-DC6A-54C2-FE3F8F710345}"/>
              </a:ext>
            </a:extLst>
          </p:cNvPr>
          <p:cNvGraphicFramePr/>
          <p:nvPr>
            <p:extLst>
              <p:ext uri="{D42A27DB-BD31-4B8C-83A1-F6EECF244321}">
                <p14:modId xmlns:p14="http://schemas.microsoft.com/office/powerpoint/2010/main" val="2410174320"/>
              </p:ext>
            </p:extLst>
          </p:nvPr>
        </p:nvGraphicFramePr>
        <p:xfrm>
          <a:off x="152400" y="1028700"/>
          <a:ext cx="4381500" cy="5371712"/>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a:extLst>
              <a:ext uri="{FF2B5EF4-FFF2-40B4-BE49-F238E27FC236}">
                <a16:creationId xmlns:a16="http://schemas.microsoft.com/office/drawing/2014/main" id="{51811D46-3545-CBB8-9C35-BAFF095496AA}"/>
              </a:ext>
            </a:extLst>
          </p:cNvPr>
          <p:cNvSpPr txBox="1"/>
          <p:nvPr/>
        </p:nvSpPr>
        <p:spPr>
          <a:xfrm>
            <a:off x="245533" y="6400412"/>
            <a:ext cx="11165942" cy="461665"/>
          </a:xfrm>
          <a:prstGeom prst="rect">
            <a:avLst/>
          </a:prstGeom>
          <a:noFill/>
        </p:spPr>
        <p:txBody>
          <a:bodyPr wrap="none" rtlCol="0">
            <a:spAutoFit/>
          </a:bodyPr>
          <a:lstStyle/>
          <a:p>
            <a:r>
              <a:rPr lang="en-US" sz="1200" dirty="0"/>
              <a:t>Source: 2017-2021 Census 5-Year ACS; Purdue Center for Regional Development</a:t>
            </a:r>
            <a:br>
              <a:rPr lang="en-US" sz="1200" dirty="0"/>
            </a:br>
            <a:r>
              <a:rPr lang="en-US" sz="1200" dirty="0"/>
              <a:t>A higher IIR denotes higher inequality. The IIR is the share of homes making less than $35k with no internet divided by the share of those making $75k or more with no internet.</a:t>
            </a:r>
          </a:p>
        </p:txBody>
      </p:sp>
      <p:pic>
        <p:nvPicPr>
          <p:cNvPr id="8" name="Picture 7" descr="A picture containing map&#10;&#10;Description automatically generated">
            <a:extLst>
              <a:ext uri="{FF2B5EF4-FFF2-40B4-BE49-F238E27FC236}">
                <a16:creationId xmlns:a16="http://schemas.microsoft.com/office/drawing/2014/main" id="{88A71281-27AB-D008-0EB9-E27A1E6DDCB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24400" y="1971287"/>
            <a:ext cx="7243654" cy="3486537"/>
          </a:xfrm>
          <a:prstGeom prst="rect">
            <a:avLst/>
          </a:prstGeom>
        </p:spPr>
      </p:pic>
    </p:spTree>
    <p:extLst>
      <p:ext uri="{BB962C8B-B14F-4D97-AF65-F5344CB8AC3E}">
        <p14:creationId xmlns:p14="http://schemas.microsoft.com/office/powerpoint/2010/main" val="195137677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Digital Distres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9</a:t>
            </a:fld>
            <a:endParaRPr lang="en-US"/>
          </a:p>
        </p:txBody>
      </p:sp>
      <p:graphicFrame>
        <p:nvGraphicFramePr>
          <p:cNvPr id="6" name="Chart 5">
            <a:extLst>
              <a:ext uri="{FF2B5EF4-FFF2-40B4-BE49-F238E27FC236}">
                <a16:creationId xmlns:a16="http://schemas.microsoft.com/office/drawing/2014/main" id="{CE45C3AF-C253-DC6A-54C2-FE3F8F710345}"/>
              </a:ext>
            </a:extLst>
          </p:cNvPr>
          <p:cNvGraphicFramePr/>
          <p:nvPr>
            <p:extLst>
              <p:ext uri="{D42A27DB-BD31-4B8C-83A1-F6EECF244321}">
                <p14:modId xmlns:p14="http://schemas.microsoft.com/office/powerpoint/2010/main" val="327871469"/>
              </p:ext>
            </p:extLst>
          </p:nvPr>
        </p:nvGraphicFramePr>
        <p:xfrm>
          <a:off x="152400" y="1028700"/>
          <a:ext cx="4381500" cy="5371712"/>
        </p:xfrm>
        <a:graphic>
          <a:graphicData uri="http://schemas.openxmlformats.org/drawingml/2006/chart">
            <c:chart xmlns:c="http://schemas.openxmlformats.org/drawingml/2006/chart" xmlns:r="http://schemas.openxmlformats.org/officeDocument/2006/relationships" r:id="rId2"/>
          </a:graphicData>
        </a:graphic>
      </p:graphicFrame>
      <p:sp>
        <p:nvSpPr>
          <p:cNvPr id="3" name="TextBox 2">
            <a:extLst>
              <a:ext uri="{FF2B5EF4-FFF2-40B4-BE49-F238E27FC236}">
                <a16:creationId xmlns:a16="http://schemas.microsoft.com/office/drawing/2014/main" id="{F554B59C-7317-13C7-D16E-7ACCF379CFEE}"/>
              </a:ext>
            </a:extLst>
          </p:cNvPr>
          <p:cNvSpPr txBox="1"/>
          <p:nvPr/>
        </p:nvSpPr>
        <p:spPr>
          <a:xfrm>
            <a:off x="187568" y="733056"/>
            <a:ext cx="3308919" cy="307777"/>
          </a:xfrm>
          <a:prstGeom prst="rect">
            <a:avLst/>
          </a:prstGeom>
          <a:noFill/>
        </p:spPr>
        <p:txBody>
          <a:bodyPr wrap="none" rtlCol="0">
            <a:spAutoFit/>
          </a:bodyPr>
          <a:lstStyle/>
          <a:p>
            <a:r>
              <a:rPr lang="en-US" sz="1400" dirty="0">
                <a:latin typeface="+mj-lt"/>
              </a:rPr>
              <a:t>Percent Households in High Digital Distress</a:t>
            </a:r>
          </a:p>
        </p:txBody>
      </p:sp>
      <p:sp>
        <p:nvSpPr>
          <p:cNvPr id="5" name="TextBox 4">
            <a:extLst>
              <a:ext uri="{FF2B5EF4-FFF2-40B4-BE49-F238E27FC236}">
                <a16:creationId xmlns:a16="http://schemas.microsoft.com/office/drawing/2014/main" id="{AD271B2F-57B1-DDF3-844C-402D53D67F69}"/>
              </a:ext>
            </a:extLst>
          </p:cNvPr>
          <p:cNvSpPr txBox="1"/>
          <p:nvPr/>
        </p:nvSpPr>
        <p:spPr>
          <a:xfrm>
            <a:off x="245533" y="6400412"/>
            <a:ext cx="10408747" cy="461665"/>
          </a:xfrm>
          <a:prstGeom prst="rect">
            <a:avLst/>
          </a:prstGeom>
          <a:noFill/>
        </p:spPr>
        <p:txBody>
          <a:bodyPr wrap="none" rtlCol="0">
            <a:spAutoFit/>
          </a:bodyPr>
          <a:lstStyle/>
          <a:p>
            <a:r>
              <a:rPr lang="en-US" sz="1200" dirty="0"/>
              <a:t>Source: 2017-2021 Census 5-Year ACS; Purdue Center for Regional Development</a:t>
            </a:r>
            <a:br>
              <a:rPr lang="en-US" sz="1200" dirty="0"/>
            </a:br>
            <a:r>
              <a:rPr lang="en-US" sz="1200" dirty="0"/>
              <a:t>Digital distress refers to a situation where homes rely on mobile devices only or have no computing devices as well as no internet access or rely on cellular data only.</a:t>
            </a:r>
          </a:p>
        </p:txBody>
      </p:sp>
      <p:pic>
        <p:nvPicPr>
          <p:cNvPr id="9" name="Picture 8" descr="Map&#10;&#10;Description automatically generated with medium confidence">
            <a:extLst>
              <a:ext uri="{FF2B5EF4-FFF2-40B4-BE49-F238E27FC236}">
                <a16:creationId xmlns:a16="http://schemas.microsoft.com/office/drawing/2014/main" id="{43FAF79B-30F1-9137-E759-D96AA5A3D3F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24400" y="1967479"/>
            <a:ext cx="7239000" cy="3484298"/>
          </a:xfrm>
          <a:prstGeom prst="rect">
            <a:avLst/>
          </a:prstGeom>
        </p:spPr>
      </p:pic>
    </p:spTree>
    <p:extLst>
      <p:ext uri="{BB962C8B-B14F-4D97-AF65-F5344CB8AC3E}">
        <p14:creationId xmlns:p14="http://schemas.microsoft.com/office/powerpoint/2010/main" val="235537603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245533" y="312576"/>
            <a:ext cx="11671300" cy="998008"/>
          </a:xfrm>
        </p:spPr>
        <p:txBody>
          <a:bodyPr>
            <a:normAutofit/>
          </a:bodyPr>
          <a:lstStyle/>
          <a:p>
            <a:r>
              <a:rPr lang="en-US" sz="3400" dirty="0"/>
              <a:t>Total Population Trends: 1990 - 2021</a:t>
            </a:r>
          </a:p>
        </p:txBody>
      </p:sp>
      <p:graphicFrame>
        <p:nvGraphicFramePr>
          <p:cNvPr id="7" name="Content Placeholder 6">
            <a:extLst>
              <a:ext uri="{FF2B5EF4-FFF2-40B4-BE49-F238E27FC236}">
                <a16:creationId xmlns:a16="http://schemas.microsoft.com/office/drawing/2014/main" id="{9B61CC2F-17D9-E6A9-D1A8-11B47E6F047B}"/>
              </a:ext>
            </a:extLst>
          </p:cNvPr>
          <p:cNvGraphicFramePr>
            <a:graphicFrameLocks noGrp="1"/>
          </p:cNvGraphicFramePr>
          <p:nvPr>
            <p:ph idx="1"/>
            <p:extLst>
              <p:ext uri="{D42A27DB-BD31-4B8C-83A1-F6EECF244321}">
                <p14:modId xmlns:p14="http://schemas.microsoft.com/office/powerpoint/2010/main" val="1540372937"/>
              </p:ext>
            </p:extLst>
          </p:nvPr>
        </p:nvGraphicFramePr>
        <p:xfrm>
          <a:off x="245533" y="1028700"/>
          <a:ext cx="11671300" cy="5366059"/>
        </p:xfrm>
        <a:graphic>
          <a:graphicData uri="http://schemas.openxmlformats.org/drawingml/2006/chart">
            <c:chart xmlns:c="http://schemas.openxmlformats.org/drawingml/2006/chart" xmlns:r="http://schemas.openxmlformats.org/officeDocument/2006/relationships" r:id="rId2"/>
          </a:graphicData>
        </a:graphic>
      </p:graphicFrame>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245533" y="6394759"/>
            <a:ext cx="2478243" cy="461665"/>
          </a:xfrm>
          <a:prstGeom prst="rect">
            <a:avLst/>
          </a:prstGeom>
          <a:noFill/>
        </p:spPr>
        <p:txBody>
          <a:bodyPr wrap="none" rtlCol="0">
            <a:spAutoFit/>
          </a:bodyPr>
          <a:lstStyle/>
          <a:p>
            <a:r>
              <a:rPr lang="en-US" sz="1200" dirty="0"/>
              <a:t>Source: Census Population Estimates</a:t>
            </a:r>
          </a:p>
          <a:p>
            <a:r>
              <a:rPr lang="en-US" sz="1200" dirty="0"/>
              <a:t>Note: 1990 = 1</a:t>
            </a:r>
          </a:p>
        </p:txBody>
      </p:sp>
    </p:spTree>
    <p:extLst>
      <p:ext uri="{BB962C8B-B14F-4D97-AF65-F5344CB8AC3E}">
        <p14:creationId xmlns:p14="http://schemas.microsoft.com/office/powerpoint/2010/main" val="387707875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Digital Divide Index</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0</a:t>
            </a:fld>
            <a:endParaRPr lang="en-US"/>
          </a:p>
        </p:txBody>
      </p:sp>
      <p:graphicFrame>
        <p:nvGraphicFramePr>
          <p:cNvPr id="6" name="Chart 5">
            <a:extLst>
              <a:ext uri="{FF2B5EF4-FFF2-40B4-BE49-F238E27FC236}">
                <a16:creationId xmlns:a16="http://schemas.microsoft.com/office/drawing/2014/main" id="{CE45C3AF-C253-DC6A-54C2-FE3F8F710345}"/>
              </a:ext>
            </a:extLst>
          </p:cNvPr>
          <p:cNvGraphicFramePr/>
          <p:nvPr>
            <p:extLst>
              <p:ext uri="{D42A27DB-BD31-4B8C-83A1-F6EECF244321}">
                <p14:modId xmlns:p14="http://schemas.microsoft.com/office/powerpoint/2010/main" val="3370501913"/>
              </p:ext>
            </p:extLst>
          </p:nvPr>
        </p:nvGraphicFramePr>
        <p:xfrm>
          <a:off x="152399" y="1028700"/>
          <a:ext cx="4381501" cy="5371712"/>
        </p:xfrm>
        <a:graphic>
          <a:graphicData uri="http://schemas.openxmlformats.org/drawingml/2006/chart">
            <c:chart xmlns:c="http://schemas.openxmlformats.org/drawingml/2006/chart" xmlns:r="http://schemas.openxmlformats.org/officeDocument/2006/relationships" r:id="rId2"/>
          </a:graphicData>
        </a:graphic>
      </p:graphicFrame>
      <p:sp>
        <p:nvSpPr>
          <p:cNvPr id="3" name="TextBox 2">
            <a:extLst>
              <a:ext uri="{FF2B5EF4-FFF2-40B4-BE49-F238E27FC236}">
                <a16:creationId xmlns:a16="http://schemas.microsoft.com/office/drawing/2014/main" id="{0DD3D37B-27F1-F3E8-0A30-705EC12F09D5}"/>
              </a:ext>
            </a:extLst>
          </p:cNvPr>
          <p:cNvSpPr txBox="1"/>
          <p:nvPr/>
        </p:nvSpPr>
        <p:spPr>
          <a:xfrm>
            <a:off x="178776" y="733056"/>
            <a:ext cx="3453446" cy="307777"/>
          </a:xfrm>
          <a:prstGeom prst="rect">
            <a:avLst/>
          </a:prstGeom>
          <a:noFill/>
        </p:spPr>
        <p:txBody>
          <a:bodyPr wrap="none" rtlCol="0">
            <a:spAutoFit/>
          </a:bodyPr>
          <a:lstStyle/>
          <a:p>
            <a:r>
              <a:rPr lang="en-US" sz="1400" dirty="0">
                <a:latin typeface="+mj-lt"/>
              </a:rPr>
              <a:t>Percent Households with a High Digital Divide</a:t>
            </a:r>
          </a:p>
        </p:txBody>
      </p:sp>
      <p:sp>
        <p:nvSpPr>
          <p:cNvPr id="9" name="TextBox 8">
            <a:extLst>
              <a:ext uri="{FF2B5EF4-FFF2-40B4-BE49-F238E27FC236}">
                <a16:creationId xmlns:a16="http://schemas.microsoft.com/office/drawing/2014/main" id="{7186EF87-E728-D13E-4ADB-699D1D4C3197}"/>
              </a:ext>
            </a:extLst>
          </p:cNvPr>
          <p:cNvSpPr txBox="1"/>
          <p:nvPr/>
        </p:nvSpPr>
        <p:spPr>
          <a:xfrm>
            <a:off x="245533" y="6400412"/>
            <a:ext cx="7359579" cy="461665"/>
          </a:xfrm>
          <a:prstGeom prst="rect">
            <a:avLst/>
          </a:prstGeom>
          <a:noFill/>
        </p:spPr>
        <p:txBody>
          <a:bodyPr wrap="none" rtlCol="0">
            <a:spAutoFit/>
          </a:bodyPr>
          <a:lstStyle/>
          <a:p>
            <a:r>
              <a:rPr lang="en-US" sz="1200" dirty="0"/>
              <a:t>Source: 2017-2021 Census 5-Year ACS; Purdue Center for Regional Development</a:t>
            </a:r>
          </a:p>
          <a:p>
            <a:r>
              <a:rPr lang="en-US" sz="1200" dirty="0"/>
              <a:t>Includes 10 variables related to the digital divide including infrastructure, devices, and demographic characteristics.</a:t>
            </a:r>
          </a:p>
        </p:txBody>
      </p:sp>
      <p:pic>
        <p:nvPicPr>
          <p:cNvPr id="8" name="Picture 7" descr="Map&#10;&#10;Description automatically generated with low confidence">
            <a:extLst>
              <a:ext uri="{FF2B5EF4-FFF2-40B4-BE49-F238E27FC236}">
                <a16:creationId xmlns:a16="http://schemas.microsoft.com/office/drawing/2014/main" id="{5C2D73F5-F9DF-BC74-9553-1866539E4E5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24400" y="1972407"/>
            <a:ext cx="7239001" cy="3484298"/>
          </a:xfrm>
          <a:prstGeom prst="rect">
            <a:avLst/>
          </a:prstGeom>
        </p:spPr>
      </p:pic>
    </p:spTree>
    <p:extLst>
      <p:ext uri="{BB962C8B-B14F-4D97-AF65-F5344CB8AC3E}">
        <p14:creationId xmlns:p14="http://schemas.microsoft.com/office/powerpoint/2010/main" val="375725729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245533" y="180589"/>
            <a:ext cx="11671300" cy="1129995"/>
          </a:xfrm>
        </p:spPr>
        <p:txBody>
          <a:bodyPr>
            <a:normAutofit/>
          </a:bodyPr>
          <a:lstStyle/>
          <a:p>
            <a:r>
              <a:rPr lang="en-US" sz="3400"/>
              <a:t>Avg. Microbusiness </a:t>
            </a:r>
            <a:r>
              <a:rPr lang="en-US" sz="3400" dirty="0"/>
              <a:t>Density (per 100 residents 18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1</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245533" y="6400412"/>
            <a:ext cx="2423164" cy="276999"/>
          </a:xfrm>
          <a:prstGeom prst="rect">
            <a:avLst/>
          </a:prstGeom>
          <a:noFill/>
        </p:spPr>
        <p:txBody>
          <a:bodyPr wrap="none" rtlCol="0">
            <a:spAutoFit/>
          </a:bodyPr>
          <a:lstStyle/>
          <a:p>
            <a:r>
              <a:rPr lang="en-US" sz="1200" dirty="0"/>
              <a:t>Source: GoDaddy Venture Forward </a:t>
            </a:r>
          </a:p>
        </p:txBody>
      </p:sp>
      <p:graphicFrame>
        <p:nvGraphicFramePr>
          <p:cNvPr id="10" name="Chart 9">
            <a:extLst>
              <a:ext uri="{FF2B5EF4-FFF2-40B4-BE49-F238E27FC236}">
                <a16:creationId xmlns:a16="http://schemas.microsoft.com/office/drawing/2014/main" id="{FD2FC231-ACEF-5FF2-C4CE-DFF89EB85588}"/>
              </a:ext>
            </a:extLst>
          </p:cNvPr>
          <p:cNvGraphicFramePr/>
          <p:nvPr>
            <p:extLst>
              <p:ext uri="{D42A27DB-BD31-4B8C-83A1-F6EECF244321}">
                <p14:modId xmlns:p14="http://schemas.microsoft.com/office/powerpoint/2010/main" val="2731776546"/>
              </p:ext>
            </p:extLst>
          </p:nvPr>
        </p:nvGraphicFramePr>
        <p:xfrm>
          <a:off x="245533" y="1028700"/>
          <a:ext cx="11700934" cy="5372100"/>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34924495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245533" y="312576"/>
            <a:ext cx="11671300" cy="998008"/>
          </a:xfrm>
        </p:spPr>
        <p:txBody>
          <a:bodyPr>
            <a:normAutofit/>
          </a:bodyPr>
          <a:lstStyle/>
          <a:p>
            <a:r>
              <a:rPr lang="en-US" sz="3400" dirty="0"/>
              <a:t>Percent Work from hom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2</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245533" y="6400412"/>
            <a:ext cx="2542684" cy="276999"/>
          </a:xfrm>
          <a:prstGeom prst="rect">
            <a:avLst/>
          </a:prstGeom>
          <a:noFill/>
        </p:spPr>
        <p:txBody>
          <a:bodyPr wrap="none" rtlCol="0">
            <a:spAutoFit/>
          </a:bodyPr>
          <a:lstStyle/>
          <a:p>
            <a:r>
              <a:rPr lang="en-US" sz="1200" dirty="0"/>
              <a:t>Source</a:t>
            </a:r>
            <a:r>
              <a:rPr lang="en-US" sz="1200"/>
              <a:t>: 2017-2021 </a:t>
            </a:r>
            <a:r>
              <a:rPr lang="en-US" sz="1200" dirty="0"/>
              <a:t>Census 5-Year ACS</a:t>
            </a:r>
          </a:p>
        </p:txBody>
      </p:sp>
      <p:graphicFrame>
        <p:nvGraphicFramePr>
          <p:cNvPr id="6" name="Chart 5">
            <a:extLst>
              <a:ext uri="{FF2B5EF4-FFF2-40B4-BE49-F238E27FC236}">
                <a16:creationId xmlns:a16="http://schemas.microsoft.com/office/drawing/2014/main" id="{73DA3ED7-7C06-B290-5610-59C61C9AD194}"/>
              </a:ext>
            </a:extLst>
          </p:cNvPr>
          <p:cNvGraphicFramePr/>
          <p:nvPr>
            <p:extLst>
              <p:ext uri="{D42A27DB-BD31-4B8C-83A1-F6EECF244321}">
                <p14:modId xmlns:p14="http://schemas.microsoft.com/office/powerpoint/2010/main" val="3468177690"/>
              </p:ext>
            </p:extLst>
          </p:nvPr>
        </p:nvGraphicFramePr>
        <p:xfrm>
          <a:off x="152400" y="1028700"/>
          <a:ext cx="11811000" cy="5372100"/>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07669841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245533" y="36843"/>
            <a:ext cx="11671300" cy="1174059"/>
          </a:xfrm>
        </p:spPr>
        <p:txBody>
          <a:bodyPr>
            <a:normAutofit/>
          </a:bodyPr>
          <a:lstStyle/>
          <a:p>
            <a:r>
              <a:rPr lang="en-US" sz="3400" dirty="0"/>
              <a:t>Remote Work Potential*: Remote Friendly Occupations </a:t>
            </a:r>
            <a:br>
              <a:rPr lang="en-US" sz="3400" dirty="0"/>
            </a:br>
            <a:r>
              <a:rPr lang="en-US" sz="3400" dirty="0"/>
              <a:t>Versus Working from Hom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3</a:t>
            </a:fld>
            <a:endParaRPr lang="en-US"/>
          </a:p>
        </p:txBody>
      </p:sp>
      <p:sp>
        <p:nvSpPr>
          <p:cNvPr id="3" name="TextBox 2">
            <a:extLst>
              <a:ext uri="{FF2B5EF4-FFF2-40B4-BE49-F238E27FC236}">
                <a16:creationId xmlns:a16="http://schemas.microsoft.com/office/drawing/2014/main" id="{AADBAC77-8094-925B-9C83-2132E5A4A84C}"/>
              </a:ext>
            </a:extLst>
          </p:cNvPr>
          <p:cNvSpPr txBox="1"/>
          <p:nvPr/>
        </p:nvSpPr>
        <p:spPr>
          <a:xfrm>
            <a:off x="245533" y="6200269"/>
            <a:ext cx="4026127" cy="646331"/>
          </a:xfrm>
          <a:prstGeom prst="rect">
            <a:avLst/>
          </a:prstGeom>
          <a:noFill/>
        </p:spPr>
        <p:txBody>
          <a:bodyPr wrap="square" rtlCol="0">
            <a:spAutoFit/>
          </a:bodyPr>
          <a:lstStyle/>
          <a:p>
            <a:r>
              <a:rPr lang="en-US" sz="1200" dirty="0"/>
              <a:t>Source: </a:t>
            </a:r>
            <a:r>
              <a:rPr lang="en-US" sz="1200" dirty="0">
                <a:solidFill>
                  <a:schemeClr val="tx1">
                    <a:lumMod val="65000"/>
                    <a:lumOff val="35000"/>
                  </a:schemeClr>
                </a:solidFill>
              </a:rPr>
              <a:t>2017-2021 Census ACS 5-Year; Lightcast; Purdue Center for Regional Development </a:t>
            </a:r>
            <a:r>
              <a:rPr lang="en-US" sz="1200" dirty="0">
                <a:hlinkClick r:id="rId2"/>
              </a:rPr>
              <a:t>National Bureau of Economic Research</a:t>
            </a:r>
            <a:endParaRPr lang="en-US" sz="1200" dirty="0"/>
          </a:p>
        </p:txBody>
      </p:sp>
      <p:sp>
        <p:nvSpPr>
          <p:cNvPr id="5" name="TextBox 4">
            <a:extLst>
              <a:ext uri="{FF2B5EF4-FFF2-40B4-BE49-F238E27FC236}">
                <a16:creationId xmlns:a16="http://schemas.microsoft.com/office/drawing/2014/main" id="{EA0F984F-F15C-B54F-E4CE-75954416187D}"/>
              </a:ext>
            </a:extLst>
          </p:cNvPr>
          <p:cNvSpPr txBox="1"/>
          <p:nvPr/>
        </p:nvSpPr>
        <p:spPr>
          <a:xfrm>
            <a:off x="4869735" y="6200269"/>
            <a:ext cx="5977813" cy="646331"/>
          </a:xfrm>
          <a:prstGeom prst="rect">
            <a:avLst/>
          </a:prstGeom>
          <a:noFill/>
        </p:spPr>
        <p:txBody>
          <a:bodyPr wrap="square" rtlCol="0">
            <a:spAutoFit/>
          </a:bodyPr>
          <a:lstStyle/>
          <a:p>
            <a:r>
              <a:rPr lang="en-US" sz="1200" dirty="0"/>
              <a:t>*Potential is in percentage points and is the difference between the share of remote work friendly occupations minus the share working from home (non-agriculture). A digitally inclusive community works towards leveraging this potential by reducing this number.</a:t>
            </a:r>
          </a:p>
        </p:txBody>
      </p:sp>
      <p:graphicFrame>
        <p:nvGraphicFramePr>
          <p:cNvPr id="27" name="Chart 26">
            <a:extLst>
              <a:ext uri="{FF2B5EF4-FFF2-40B4-BE49-F238E27FC236}">
                <a16:creationId xmlns:a16="http://schemas.microsoft.com/office/drawing/2014/main" id="{35001F71-6C2C-C1B7-1E02-6FB761956FA2}"/>
              </a:ext>
            </a:extLst>
          </p:cNvPr>
          <p:cNvGraphicFramePr/>
          <p:nvPr>
            <p:extLst>
              <p:ext uri="{D42A27DB-BD31-4B8C-83A1-F6EECF244321}">
                <p14:modId xmlns:p14="http://schemas.microsoft.com/office/powerpoint/2010/main" val="2065776651"/>
              </p:ext>
            </p:extLst>
          </p:nvPr>
        </p:nvGraphicFramePr>
        <p:xfrm>
          <a:off x="152400" y="1028700"/>
          <a:ext cx="11811000" cy="5202525"/>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51340989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245533" y="312576"/>
            <a:ext cx="11671300" cy="998008"/>
          </a:xfrm>
        </p:spPr>
        <p:txBody>
          <a:bodyPr>
            <a:normAutofit/>
          </a:bodyPr>
          <a:lstStyle/>
          <a:p>
            <a:r>
              <a:rPr lang="en-US" sz="3400" dirty="0"/>
              <a:t>Digital Economy Jobs* (percent job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4</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245533" y="6356350"/>
            <a:ext cx="3078692" cy="276999"/>
          </a:xfrm>
          <a:prstGeom prst="rect">
            <a:avLst/>
          </a:prstGeom>
          <a:noFill/>
        </p:spPr>
        <p:txBody>
          <a:bodyPr wrap="square" rtlCol="0">
            <a:spAutoFit/>
          </a:bodyPr>
          <a:lstStyle/>
          <a:p>
            <a:r>
              <a:rPr lang="en-US" sz="1200" dirty="0"/>
              <a:t>Source: Lightcast; Bureau of Economic Analysis</a:t>
            </a:r>
          </a:p>
        </p:txBody>
      </p:sp>
      <p:graphicFrame>
        <p:nvGraphicFramePr>
          <p:cNvPr id="10" name="Chart 9">
            <a:extLst>
              <a:ext uri="{FF2B5EF4-FFF2-40B4-BE49-F238E27FC236}">
                <a16:creationId xmlns:a16="http://schemas.microsoft.com/office/drawing/2014/main" id="{FD2FC231-ACEF-5FF2-C4CE-DFF89EB85588}"/>
              </a:ext>
            </a:extLst>
          </p:cNvPr>
          <p:cNvGraphicFramePr/>
          <p:nvPr>
            <p:extLst>
              <p:ext uri="{D42A27DB-BD31-4B8C-83A1-F6EECF244321}">
                <p14:modId xmlns:p14="http://schemas.microsoft.com/office/powerpoint/2010/main" val="325291165"/>
              </p:ext>
            </p:extLst>
          </p:nvPr>
        </p:nvGraphicFramePr>
        <p:xfrm>
          <a:off x="245533" y="1028700"/>
          <a:ext cx="11700934" cy="5221493"/>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a:extLst>
              <a:ext uri="{FF2B5EF4-FFF2-40B4-BE49-F238E27FC236}">
                <a16:creationId xmlns:a16="http://schemas.microsoft.com/office/drawing/2014/main" id="{06088BFF-E008-7036-06DC-C79AACE6A6EF}"/>
              </a:ext>
            </a:extLst>
          </p:cNvPr>
          <p:cNvSpPr txBox="1"/>
          <p:nvPr/>
        </p:nvSpPr>
        <p:spPr>
          <a:xfrm>
            <a:off x="3515932" y="6259810"/>
            <a:ext cx="6466268" cy="461665"/>
          </a:xfrm>
          <a:prstGeom prst="rect">
            <a:avLst/>
          </a:prstGeom>
          <a:noFill/>
        </p:spPr>
        <p:txBody>
          <a:bodyPr wrap="square" rtlCol="0">
            <a:spAutoFit/>
          </a:bodyPr>
          <a:lstStyle/>
          <a:p>
            <a:r>
              <a:rPr lang="en-US" sz="1200" dirty="0"/>
              <a:t>*Includes 44 industries considered to be “fully” part of the digital economy ranging from hardware &amp; software to data processing; does not include warehousing or retail associated with e-commerce</a:t>
            </a:r>
          </a:p>
        </p:txBody>
      </p:sp>
    </p:spTree>
    <p:extLst>
      <p:ext uri="{BB962C8B-B14F-4D97-AF65-F5344CB8AC3E}">
        <p14:creationId xmlns:p14="http://schemas.microsoft.com/office/powerpoint/2010/main" val="380233516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245533" y="312576"/>
            <a:ext cx="11671300" cy="998008"/>
          </a:xfrm>
        </p:spPr>
        <p:txBody>
          <a:bodyPr>
            <a:normAutofit/>
          </a:bodyPr>
          <a:lstStyle/>
          <a:p>
            <a:r>
              <a:rPr lang="en-US" sz="3400" dirty="0"/>
              <a:t>Share of Occupations by Digital Skills Level</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5</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245533" y="6400412"/>
            <a:ext cx="1928926" cy="276999"/>
          </a:xfrm>
          <a:prstGeom prst="rect">
            <a:avLst/>
          </a:prstGeom>
          <a:noFill/>
        </p:spPr>
        <p:txBody>
          <a:bodyPr wrap="none" rtlCol="0">
            <a:spAutoFit/>
          </a:bodyPr>
          <a:lstStyle/>
          <a:p>
            <a:r>
              <a:rPr lang="en-US" sz="1200" dirty="0"/>
              <a:t>Source: Lightcast; Brookings</a:t>
            </a:r>
          </a:p>
        </p:txBody>
      </p:sp>
      <p:graphicFrame>
        <p:nvGraphicFramePr>
          <p:cNvPr id="10" name="Chart 9">
            <a:extLst>
              <a:ext uri="{FF2B5EF4-FFF2-40B4-BE49-F238E27FC236}">
                <a16:creationId xmlns:a16="http://schemas.microsoft.com/office/drawing/2014/main" id="{FD2FC231-ACEF-5FF2-C4CE-DFF89EB85588}"/>
              </a:ext>
            </a:extLst>
          </p:cNvPr>
          <p:cNvGraphicFramePr/>
          <p:nvPr>
            <p:extLst>
              <p:ext uri="{D42A27DB-BD31-4B8C-83A1-F6EECF244321}">
                <p14:modId xmlns:p14="http://schemas.microsoft.com/office/powerpoint/2010/main" val="136707460"/>
              </p:ext>
            </p:extLst>
          </p:nvPr>
        </p:nvGraphicFramePr>
        <p:xfrm>
          <a:off x="215899" y="1028700"/>
          <a:ext cx="11700934" cy="5372100"/>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429255432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Content Placeholder 6">
            <a:extLst>
              <a:ext uri="{FF2B5EF4-FFF2-40B4-BE49-F238E27FC236}">
                <a16:creationId xmlns:a16="http://schemas.microsoft.com/office/drawing/2014/main" id="{A966EEC7-83EF-771C-E559-BAB55F5A621C}"/>
              </a:ext>
            </a:extLst>
          </p:cNvPr>
          <p:cNvGraphicFramePr>
            <a:graphicFrameLocks/>
          </p:cNvGraphicFramePr>
          <p:nvPr>
            <p:extLst>
              <p:ext uri="{D42A27DB-BD31-4B8C-83A1-F6EECF244321}">
                <p14:modId xmlns:p14="http://schemas.microsoft.com/office/powerpoint/2010/main" val="3876171607"/>
              </p:ext>
            </p:extLst>
          </p:nvPr>
        </p:nvGraphicFramePr>
        <p:xfrm>
          <a:off x="245533" y="1028700"/>
          <a:ext cx="11671300" cy="5371712"/>
        </p:xfrm>
        <a:graphic>
          <a:graphicData uri="http://schemas.openxmlformats.org/drawingml/2006/chart">
            <c:chart xmlns:c="http://schemas.openxmlformats.org/drawingml/2006/chart" xmlns:r="http://schemas.openxmlformats.org/officeDocument/2006/relationships" r:id="rId2"/>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245533" y="312576"/>
            <a:ext cx="11671300" cy="998008"/>
          </a:xfrm>
        </p:spPr>
        <p:txBody>
          <a:bodyPr>
            <a:normAutofit/>
          </a:bodyPr>
          <a:lstStyle/>
          <a:p>
            <a:r>
              <a:rPr lang="en-US" sz="3400" dirty="0"/>
              <a:t>Race/Ethnicity: Percent Tot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4</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spTree>
    <p:extLst>
      <p:ext uri="{BB962C8B-B14F-4D97-AF65-F5344CB8AC3E}">
        <p14:creationId xmlns:p14="http://schemas.microsoft.com/office/powerpoint/2010/main" val="370283751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245533" y="312576"/>
            <a:ext cx="11671300" cy="998008"/>
          </a:xfrm>
        </p:spPr>
        <p:txBody>
          <a:bodyPr>
            <a:normAutofit/>
          </a:bodyPr>
          <a:lstStyle/>
          <a:p>
            <a:r>
              <a:rPr lang="en-US" sz="3400" dirty="0"/>
              <a:t>Age Groups: Percent Tot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5</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graphicFrame>
        <p:nvGraphicFramePr>
          <p:cNvPr id="9" name="Content Placeholder 6">
            <a:extLst>
              <a:ext uri="{FF2B5EF4-FFF2-40B4-BE49-F238E27FC236}">
                <a16:creationId xmlns:a16="http://schemas.microsoft.com/office/drawing/2014/main" id="{BF6DEC76-8E72-6168-70C1-6709AC56F21B}"/>
              </a:ext>
            </a:extLst>
          </p:cNvPr>
          <p:cNvGraphicFramePr>
            <a:graphicFrameLocks noGrp="1"/>
          </p:cNvGraphicFramePr>
          <p:nvPr>
            <p:ph idx="1"/>
            <p:extLst>
              <p:ext uri="{D42A27DB-BD31-4B8C-83A1-F6EECF244321}">
                <p14:modId xmlns:p14="http://schemas.microsoft.com/office/powerpoint/2010/main" val="1903700261"/>
              </p:ext>
            </p:extLst>
          </p:nvPr>
        </p:nvGraphicFramePr>
        <p:xfrm>
          <a:off x="245533" y="1028700"/>
          <a:ext cx="11671300" cy="5371712"/>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51908320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245533" y="312576"/>
            <a:ext cx="11671300" cy="998008"/>
          </a:xfrm>
        </p:spPr>
        <p:txBody>
          <a:bodyPr>
            <a:normAutofit/>
          </a:bodyPr>
          <a:lstStyle/>
          <a:p>
            <a:r>
              <a:rPr lang="en-US" sz="3400" dirty="0"/>
              <a:t>Educational Attainment: Percent Population 25 or Older</a:t>
            </a:r>
          </a:p>
        </p:txBody>
      </p:sp>
      <p:graphicFrame>
        <p:nvGraphicFramePr>
          <p:cNvPr id="7" name="Content Placeholder 6">
            <a:extLst>
              <a:ext uri="{FF2B5EF4-FFF2-40B4-BE49-F238E27FC236}">
                <a16:creationId xmlns:a16="http://schemas.microsoft.com/office/drawing/2014/main" id="{9B61CC2F-17D9-E6A9-D1A8-11B47E6F047B}"/>
              </a:ext>
            </a:extLst>
          </p:cNvPr>
          <p:cNvGraphicFramePr>
            <a:graphicFrameLocks noGrp="1"/>
          </p:cNvGraphicFramePr>
          <p:nvPr>
            <p:ph idx="1"/>
            <p:extLst>
              <p:ext uri="{D42A27DB-BD31-4B8C-83A1-F6EECF244321}">
                <p14:modId xmlns:p14="http://schemas.microsoft.com/office/powerpoint/2010/main" val="1578223592"/>
              </p:ext>
            </p:extLst>
          </p:nvPr>
        </p:nvGraphicFramePr>
        <p:xfrm>
          <a:off x="245533" y="1028700"/>
          <a:ext cx="11671300" cy="5372100"/>
        </p:xfrm>
        <a:graphic>
          <a:graphicData uri="http://schemas.openxmlformats.org/drawingml/2006/chart">
            <c:chart xmlns:c="http://schemas.openxmlformats.org/drawingml/2006/chart" xmlns:r="http://schemas.openxmlformats.org/officeDocument/2006/relationships" r:id="rId2"/>
          </a:graphicData>
        </a:graphic>
      </p:graphicFrame>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6</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spTree>
    <p:extLst>
      <p:ext uri="{BB962C8B-B14F-4D97-AF65-F5344CB8AC3E}">
        <p14:creationId xmlns:p14="http://schemas.microsoft.com/office/powerpoint/2010/main" val="323115759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245533" y="312576"/>
            <a:ext cx="11671300" cy="998008"/>
          </a:xfrm>
        </p:spPr>
        <p:txBody>
          <a:bodyPr>
            <a:normAutofit/>
          </a:bodyPr>
          <a:lstStyle/>
          <a:p>
            <a:r>
              <a:rPr lang="en-US" sz="3400" dirty="0"/>
              <a:t>Children by Grade: No access to internet or computer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7</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graphicFrame>
        <p:nvGraphicFramePr>
          <p:cNvPr id="3" name="Content Placeholder 6">
            <a:extLst>
              <a:ext uri="{FF2B5EF4-FFF2-40B4-BE49-F238E27FC236}">
                <a16:creationId xmlns:a16="http://schemas.microsoft.com/office/drawing/2014/main" id="{FB02C378-1345-7768-FD90-CB4B9AF6F805}"/>
              </a:ext>
            </a:extLst>
          </p:cNvPr>
          <p:cNvGraphicFramePr>
            <a:graphicFrameLocks noGrp="1"/>
          </p:cNvGraphicFramePr>
          <p:nvPr>
            <p:ph idx="1"/>
            <p:extLst>
              <p:ext uri="{D42A27DB-BD31-4B8C-83A1-F6EECF244321}">
                <p14:modId xmlns:p14="http://schemas.microsoft.com/office/powerpoint/2010/main" val="973438306"/>
              </p:ext>
            </p:extLst>
          </p:nvPr>
        </p:nvGraphicFramePr>
        <p:xfrm>
          <a:off x="245533" y="1028700"/>
          <a:ext cx="11671300" cy="5372100"/>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65393772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3C0735-F779-1395-6219-3A394A3F19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3C3C0735-F779-1395-6219-3A394A3F19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245533" y="312576"/>
            <a:ext cx="11671300" cy="998008"/>
          </a:xfrm>
        </p:spPr>
        <p:txBody>
          <a:bodyPr vert="horz">
            <a:normAutofit/>
          </a:bodyPr>
          <a:lstStyle/>
          <a:p>
            <a:r>
              <a:rPr lang="en-US" sz="3400" dirty="0"/>
              <a:t>Computer, No Internet Access by Selected Race/Ethnic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8</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graphicFrame>
        <p:nvGraphicFramePr>
          <p:cNvPr id="5" name="Content Placeholder 6">
            <a:extLst>
              <a:ext uri="{FF2B5EF4-FFF2-40B4-BE49-F238E27FC236}">
                <a16:creationId xmlns:a16="http://schemas.microsoft.com/office/drawing/2014/main" id="{30BAB4B4-48FF-BFD0-C485-12BA6DE00E29}"/>
              </a:ext>
            </a:extLst>
          </p:cNvPr>
          <p:cNvGraphicFramePr>
            <a:graphicFrameLocks noGrp="1"/>
          </p:cNvGraphicFramePr>
          <p:nvPr>
            <p:ph idx="1"/>
            <p:extLst>
              <p:ext uri="{D42A27DB-BD31-4B8C-83A1-F6EECF244321}">
                <p14:modId xmlns:p14="http://schemas.microsoft.com/office/powerpoint/2010/main" val="4156591309"/>
              </p:ext>
            </p:extLst>
          </p:nvPr>
        </p:nvGraphicFramePr>
        <p:xfrm>
          <a:off x="245533" y="1028700"/>
          <a:ext cx="11671300" cy="5372100"/>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84162887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3C0735-F779-1395-6219-3A394A3F19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3C3C0735-F779-1395-6219-3A394A3F19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245533" y="312576"/>
            <a:ext cx="11671300" cy="998008"/>
          </a:xfrm>
        </p:spPr>
        <p:txBody>
          <a:bodyPr vert="horz">
            <a:normAutofit/>
          </a:bodyPr>
          <a:lstStyle/>
          <a:p>
            <a:r>
              <a:rPr lang="en-US" sz="3400" dirty="0"/>
              <a:t>No Computer by Selected Race/Ethnic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9</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graphicFrame>
        <p:nvGraphicFramePr>
          <p:cNvPr id="5" name="Content Placeholder 6">
            <a:extLst>
              <a:ext uri="{FF2B5EF4-FFF2-40B4-BE49-F238E27FC236}">
                <a16:creationId xmlns:a16="http://schemas.microsoft.com/office/drawing/2014/main" id="{E6387C1B-F121-65CB-209D-FCDF945093CD}"/>
              </a:ext>
            </a:extLst>
          </p:cNvPr>
          <p:cNvGraphicFramePr>
            <a:graphicFrameLocks noGrp="1"/>
          </p:cNvGraphicFramePr>
          <p:nvPr>
            <p:ph idx="1"/>
            <p:extLst>
              <p:ext uri="{D42A27DB-BD31-4B8C-83A1-F6EECF244321}">
                <p14:modId xmlns:p14="http://schemas.microsoft.com/office/powerpoint/2010/main" val="447303145"/>
              </p:ext>
            </p:extLst>
          </p:nvPr>
        </p:nvGraphicFramePr>
        <p:xfrm>
          <a:off x="245533" y="1028700"/>
          <a:ext cx="11671300" cy="5372100"/>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08407630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944</TotalTime>
  <Words>1436</Words>
  <Application>Microsoft Office PowerPoint</Application>
  <PresentationFormat>Widescreen</PresentationFormat>
  <Paragraphs>128</Paragraphs>
  <Slides>35</Slides>
  <Notes>0</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35</vt:i4>
      </vt:variant>
    </vt:vector>
  </HeadingPairs>
  <TitlesOfParts>
    <vt:vector size="40" baseType="lpstr">
      <vt:lpstr>Arial</vt:lpstr>
      <vt:lpstr>Calibri</vt:lpstr>
      <vt:lpstr>Calibri Light</vt:lpstr>
      <vt:lpstr>Office Theme</vt:lpstr>
      <vt:lpstr>think-cell Slide</vt:lpstr>
      <vt:lpstr>PowerPoint Presentation</vt:lpstr>
      <vt:lpstr>Background &amp; Methodology</vt:lpstr>
      <vt:lpstr>Total Population Trends: 1990 - 2021</vt:lpstr>
      <vt:lpstr>Race/Ethnicity: Percent Total Population</vt:lpstr>
      <vt:lpstr>Age Groups: Percent Total Population</vt:lpstr>
      <vt:lpstr>Educational Attainment: Percent Population 25 or Older</vt:lpstr>
      <vt:lpstr>Children by Grade: No access to internet or computers</vt:lpstr>
      <vt:lpstr>Computer, No Internet Access by Selected Race/Ethnicity</vt:lpstr>
      <vt:lpstr>No Computer by Selected Race/Ethnicity</vt:lpstr>
      <vt:lpstr>No Home Internet Access by Household Income Groups</vt:lpstr>
      <vt:lpstr>Share of Households by Digital Distress Metrics</vt:lpstr>
      <vt:lpstr>Number of 100/20 Mbps Providers</vt:lpstr>
      <vt:lpstr>Average Download Speeds (Mbps)</vt:lpstr>
      <vt:lpstr>Average Upload Speeds (Mbps)</vt:lpstr>
      <vt:lpstr>Percent Population with 100/20 Mbps</vt:lpstr>
      <vt:lpstr>Percent Population with 100/100 Mbps</vt:lpstr>
      <vt:lpstr>Percent Rural* Population</vt:lpstr>
      <vt:lpstr>Percent Non-Institutionalized Population, Disability</vt:lpstr>
      <vt:lpstr>Percent Population 18 or older, Veterans</vt:lpstr>
      <vt:lpstr>Percent Population Minorities (all but White, non-Hispanic)</vt:lpstr>
      <vt:lpstr>Individual Poverty Rate</vt:lpstr>
      <vt:lpstr>Percent Households with a Person Aged 60 or Older</vt:lpstr>
      <vt:lpstr>Percent Households with Children</vt:lpstr>
      <vt:lpstr>Percent Households with Limited English Proficiency</vt:lpstr>
      <vt:lpstr>Percent Foreign Born</vt:lpstr>
      <vt:lpstr>Homework Gap: Percent Children with Computer, No Internet</vt:lpstr>
      <vt:lpstr>Senior Gap: Percent Seniors (Age 65 or older) with No Computer</vt:lpstr>
      <vt:lpstr>Internet Income Ratio (IIR)</vt:lpstr>
      <vt:lpstr>Digital Distress</vt:lpstr>
      <vt:lpstr>Digital Divide Index</vt:lpstr>
      <vt:lpstr>Avg. Microbusiness Density (per 100 residents 18 or older)</vt:lpstr>
      <vt:lpstr>Percent Work from home</vt:lpstr>
      <vt:lpstr>Remote Work Potential*: Remote Friendly Occupations  Versus Working from Home</vt:lpstr>
      <vt:lpstr>Digital Economy Jobs* (percent jobs)</vt:lpstr>
      <vt:lpstr>Share of Occupations by Digital Skills Level</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oberto Gallardo</dc:creator>
  <cp:lastModifiedBy>Roberto Gallardo</cp:lastModifiedBy>
  <cp:revision>1</cp:revision>
  <dcterms:created xsi:type="dcterms:W3CDTF">2022-07-04T13:32:28Z</dcterms:created>
  <dcterms:modified xsi:type="dcterms:W3CDTF">2023-02-22T00:37:20Z</dcterms:modified>
</cp:coreProperties>
</file>